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notesSlides/notesSlide25.xml" ContentType="application/vnd.openxmlformats-officedocument.presentationml.notesSlide+xml"/>
  <Override PartName="/ppt/tags/tag17.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55" r:id="rId5"/>
  </p:sldMasterIdLst>
  <p:notesMasterIdLst>
    <p:notesMasterId r:id="rId33"/>
  </p:notesMasterIdLst>
  <p:handoutMasterIdLst>
    <p:handoutMasterId r:id="rId34"/>
  </p:handoutMasterIdLst>
  <p:sldIdLst>
    <p:sldId id="299" r:id="rId6"/>
    <p:sldId id="281" r:id="rId7"/>
    <p:sldId id="283" r:id="rId8"/>
    <p:sldId id="305" r:id="rId9"/>
    <p:sldId id="306" r:id="rId10"/>
    <p:sldId id="307" r:id="rId11"/>
    <p:sldId id="308" r:id="rId12"/>
    <p:sldId id="310" r:id="rId13"/>
    <p:sldId id="313" r:id="rId14"/>
    <p:sldId id="312" r:id="rId15"/>
    <p:sldId id="314" r:id="rId16"/>
    <p:sldId id="311" r:id="rId17"/>
    <p:sldId id="309" r:id="rId18"/>
    <p:sldId id="282" r:id="rId19"/>
    <p:sldId id="304" r:id="rId20"/>
    <p:sldId id="284" r:id="rId21"/>
    <p:sldId id="285" r:id="rId22"/>
    <p:sldId id="286" r:id="rId23"/>
    <p:sldId id="287" r:id="rId24"/>
    <p:sldId id="288" r:id="rId25"/>
    <p:sldId id="289" r:id="rId26"/>
    <p:sldId id="290" r:id="rId27"/>
    <p:sldId id="291" r:id="rId28"/>
    <p:sldId id="292" r:id="rId29"/>
    <p:sldId id="293" r:id="rId30"/>
    <p:sldId id="294" r:id="rId31"/>
    <p:sldId id="302" r:id="rId32"/>
  </p:sldIdLst>
  <p:sldSz cx="12190413" cy="6858000"/>
  <p:notesSz cx="6888163" cy="100203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857">
          <p15:clr>
            <a:srgbClr val="A4A3A4"/>
          </p15:clr>
        </p15:guide>
        <p15:guide id="4" pos="196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C4A7"/>
    <a:srgbClr val="C3B996"/>
    <a:srgbClr val="00A5E2"/>
    <a:srgbClr val="00BCFF"/>
    <a:srgbClr val="66B512"/>
    <a:srgbClr val="74C713"/>
    <a:srgbClr val="E61A5D"/>
    <a:srgbClr val="FF3162"/>
    <a:srgbClr val="624963"/>
    <a:srgbClr val="D30F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5455" autoAdjust="0"/>
  </p:normalViewPr>
  <p:slideViewPr>
    <p:cSldViewPr snapToGrid="0" snapToObjects="1" showGuides="1">
      <p:cViewPr varScale="1">
        <p:scale>
          <a:sx n="114" d="100"/>
          <a:sy n="114" d="100"/>
        </p:scale>
        <p:origin x="474" y="84"/>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75" d="100"/>
          <a:sy n="75" d="100"/>
        </p:scale>
        <p:origin x="-4050" y="-114"/>
      </p:cViewPr>
      <p:guideLst>
        <p:guide orient="horz" pos="2880"/>
        <p:guide pos="2160"/>
        <p:guide orient="horz" pos="2857"/>
        <p:guide pos="196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75070516436741"/>
          <c:y val="0.13207297929140413"/>
          <c:w val="0.75759350483488419"/>
          <c:h val="0.75635154826958106"/>
        </c:manualLayout>
      </c:layout>
      <c:doughnutChart>
        <c:varyColors val="1"/>
        <c:ser>
          <c:idx val="0"/>
          <c:order val="0"/>
          <c:tx>
            <c:strRef>
              <c:f>Tabelle1!$B$1</c:f>
              <c:strCache>
                <c:ptCount val="1"/>
                <c:pt idx="0">
                  <c:v>Lorem </c:v>
                </c:pt>
              </c:strCache>
            </c:strRef>
          </c:tx>
          <c:spPr>
            <a:solidFill>
              <a:schemeClr val="accent1"/>
            </a:solidFill>
            <a:ln>
              <a:solidFill>
                <a:srgbClr val="FFFFFF"/>
              </a:solidFill>
            </a:ln>
          </c:spPr>
          <c:dPt>
            <c:idx val="1"/>
            <c:bubble3D val="0"/>
            <c:spPr>
              <a:solidFill>
                <a:schemeClr val="accent2"/>
              </a:solidFill>
              <a:ln>
                <a:solidFill>
                  <a:srgbClr val="FFFFFF"/>
                </a:solidFill>
              </a:ln>
            </c:spPr>
            <c:extLst>
              <c:ext xmlns:c16="http://schemas.microsoft.com/office/drawing/2014/chart" uri="{C3380CC4-5D6E-409C-BE32-E72D297353CC}">
                <c16:uniqueId val="{00000001-D5D3-4E41-9185-CA35B2EB74E7}"/>
              </c:ext>
            </c:extLst>
          </c:dPt>
          <c:dPt>
            <c:idx val="2"/>
            <c:bubble3D val="0"/>
            <c:spPr>
              <a:solidFill>
                <a:schemeClr val="accent3"/>
              </a:solidFill>
              <a:ln>
                <a:solidFill>
                  <a:srgbClr val="FFFFFF"/>
                </a:solidFill>
              </a:ln>
            </c:spPr>
            <c:extLst>
              <c:ext xmlns:c16="http://schemas.microsoft.com/office/drawing/2014/chart" uri="{C3380CC4-5D6E-409C-BE32-E72D297353CC}">
                <c16:uniqueId val="{00000003-D5D3-4E41-9185-CA35B2EB74E7}"/>
              </c:ext>
            </c:extLst>
          </c:dPt>
          <c:dPt>
            <c:idx val="3"/>
            <c:bubble3D val="0"/>
            <c:spPr>
              <a:solidFill>
                <a:schemeClr val="accent4"/>
              </a:solidFill>
              <a:ln>
                <a:solidFill>
                  <a:srgbClr val="FFFFFF"/>
                </a:solidFill>
              </a:ln>
            </c:spPr>
            <c:extLst>
              <c:ext xmlns:c16="http://schemas.microsoft.com/office/drawing/2014/chart" uri="{C3380CC4-5D6E-409C-BE32-E72D297353CC}">
                <c16:uniqueId val="{00000005-D5D3-4E41-9185-CA35B2EB74E7}"/>
              </c:ext>
            </c:extLst>
          </c:dPt>
          <c:dPt>
            <c:idx val="4"/>
            <c:bubble3D val="0"/>
            <c:spPr>
              <a:solidFill>
                <a:schemeClr val="accent5"/>
              </a:solidFill>
              <a:ln>
                <a:solidFill>
                  <a:srgbClr val="FFFFFF"/>
                </a:solidFill>
              </a:ln>
            </c:spPr>
            <c:extLst>
              <c:ext xmlns:c16="http://schemas.microsoft.com/office/drawing/2014/chart" uri="{C3380CC4-5D6E-409C-BE32-E72D297353CC}">
                <c16:uniqueId val="{00000007-D5D3-4E41-9185-CA35B2EB74E7}"/>
              </c:ext>
            </c:extLst>
          </c:dPt>
          <c:dPt>
            <c:idx val="5"/>
            <c:bubble3D val="0"/>
            <c:spPr>
              <a:solidFill>
                <a:schemeClr val="accent6"/>
              </a:solidFill>
              <a:ln>
                <a:solidFill>
                  <a:srgbClr val="FFFFFF"/>
                </a:solidFill>
              </a:ln>
            </c:spPr>
            <c:extLst>
              <c:ext xmlns:c16="http://schemas.microsoft.com/office/drawing/2014/chart" uri="{C3380CC4-5D6E-409C-BE32-E72D297353CC}">
                <c16:uniqueId val="{00000009-D5D3-4E41-9185-CA35B2EB74E7}"/>
              </c:ext>
            </c:extLst>
          </c:dPt>
          <c:dPt>
            <c:idx val="6"/>
            <c:bubble3D val="0"/>
            <c:spPr>
              <a:solidFill>
                <a:schemeClr val="bg2"/>
              </a:solidFill>
              <a:ln>
                <a:solidFill>
                  <a:srgbClr val="FFFFFF"/>
                </a:solidFill>
              </a:ln>
            </c:spPr>
            <c:extLst>
              <c:ext xmlns:c16="http://schemas.microsoft.com/office/drawing/2014/chart" uri="{C3380CC4-5D6E-409C-BE32-E72D297353CC}">
                <c16:uniqueId val="{0000000B-D5D3-4E41-9185-CA35B2EB74E7}"/>
              </c:ext>
            </c:extLst>
          </c:dPt>
          <c:dPt>
            <c:idx val="7"/>
            <c:bubble3D val="0"/>
            <c:spPr>
              <a:solidFill>
                <a:schemeClr val="tx2"/>
              </a:solidFill>
              <a:ln>
                <a:solidFill>
                  <a:srgbClr val="FFFFFF"/>
                </a:solidFill>
              </a:ln>
            </c:spPr>
            <c:extLst>
              <c:ext xmlns:c16="http://schemas.microsoft.com/office/drawing/2014/chart" uri="{C3380CC4-5D6E-409C-BE32-E72D297353CC}">
                <c16:uniqueId val="{0000000D-D5D3-4E41-9185-CA35B2EB74E7}"/>
              </c:ext>
            </c:extLst>
          </c:dPt>
          <c:dPt>
            <c:idx val="8"/>
            <c:bubble3D val="0"/>
            <c:spPr>
              <a:solidFill>
                <a:schemeClr val="bg2">
                  <a:lumMod val="75000"/>
                </a:schemeClr>
              </a:solidFill>
              <a:ln>
                <a:solidFill>
                  <a:srgbClr val="FFFFFF"/>
                </a:solidFill>
              </a:ln>
            </c:spPr>
            <c:extLst>
              <c:ext xmlns:c16="http://schemas.microsoft.com/office/drawing/2014/chart" uri="{C3380CC4-5D6E-409C-BE32-E72D297353CC}">
                <c16:uniqueId val="{0000000F-D5D3-4E41-9185-CA35B2EB74E7}"/>
              </c:ext>
            </c:extLst>
          </c:dPt>
          <c:cat>
            <c:strRef>
              <c:f>Tabelle1!$A$2:$A$7</c:f>
              <c:strCache>
                <c:ptCount val="6"/>
                <c:pt idx="0">
                  <c:v>Lorem</c:v>
                </c:pt>
                <c:pt idx="1">
                  <c:v>Ipsum</c:v>
                </c:pt>
                <c:pt idx="2">
                  <c:v>Dolor</c:v>
                </c:pt>
                <c:pt idx="3">
                  <c:v>Sit</c:v>
                </c:pt>
                <c:pt idx="4">
                  <c:v>Atem</c:v>
                </c:pt>
                <c:pt idx="5">
                  <c:v>Consetetur</c:v>
                </c:pt>
              </c:strCache>
            </c:strRef>
          </c:cat>
          <c:val>
            <c:numRef>
              <c:f>Tabelle1!$B$2:$B$7</c:f>
              <c:numCache>
                <c:formatCode>#,##0.0</c:formatCode>
                <c:ptCount val="6"/>
                <c:pt idx="0">
                  <c:v>3.4</c:v>
                </c:pt>
                <c:pt idx="1">
                  <c:v>11.2</c:v>
                </c:pt>
                <c:pt idx="2">
                  <c:v>9.8000000000000007</c:v>
                </c:pt>
                <c:pt idx="3">
                  <c:v>6</c:v>
                </c:pt>
                <c:pt idx="4">
                  <c:v>2</c:v>
                </c:pt>
                <c:pt idx="5" formatCode="0.0">
                  <c:v>6</c:v>
                </c:pt>
              </c:numCache>
            </c:numRef>
          </c:val>
          <c:extLst>
            <c:ext xmlns:c16="http://schemas.microsoft.com/office/drawing/2014/chart" uri="{C3380CC4-5D6E-409C-BE32-E72D297353CC}">
              <c16:uniqueId val="{00000010-D5D3-4E41-9185-CA35B2EB74E7}"/>
            </c:ext>
          </c:extLst>
        </c:ser>
        <c:dLbls>
          <c:showLegendKey val="0"/>
          <c:showVal val="0"/>
          <c:showCatName val="0"/>
          <c:showSerName val="0"/>
          <c:showPercent val="0"/>
          <c:showBubbleSize val="0"/>
          <c:showLeaderLines val="1"/>
        </c:dLbls>
        <c:firstSliceAng val="0"/>
        <c:holeSize val="57"/>
      </c:doughnutChart>
    </c:plotArea>
    <c:plotVisOnly val="1"/>
    <c:dispBlanksAs val="gap"/>
    <c:showDLblsOverMax val="0"/>
  </c:chart>
  <c:txPr>
    <a:bodyPr/>
    <a:lstStyle/>
    <a:p>
      <a:pPr>
        <a:defRPr sz="1200"/>
      </a:pPr>
      <a:endParaRPr lang="pt-BR"/>
    </a:p>
  </c:txPr>
  <c:externalData r:id="rId1">
    <c:autoUpdate val="0"/>
  </c:externalData>
</c:chartSpace>
</file>

<file path=ppt/handoutMasters/_rels/handoutMaster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2216" y="176715"/>
            <a:ext cx="5983605" cy="1785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2" name="Date Placeholder 2"/>
          <p:cNvSpPr>
            <a:spLocks noGrp="1"/>
          </p:cNvSpPr>
          <p:nvPr>
            <p:ph type="dt" sz="quarter" idx="1"/>
          </p:nvPr>
        </p:nvSpPr>
        <p:spPr bwMode="gray">
          <a:xfrm>
            <a:off x="6216864" y="9671310"/>
            <a:ext cx="492259" cy="1785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11/28/2020</a:t>
            </a:fld>
            <a:endParaRPr lang="en-US" dirty="0"/>
          </a:p>
        </p:txBody>
      </p:sp>
      <p:sp>
        <p:nvSpPr>
          <p:cNvPr id="13" name="Footer Placeholder 3"/>
          <p:cNvSpPr>
            <a:spLocks noGrp="1"/>
          </p:cNvSpPr>
          <p:nvPr>
            <p:ph type="ftr" sz="quarter" idx="2"/>
          </p:nvPr>
        </p:nvSpPr>
        <p:spPr bwMode="gray">
          <a:xfrm>
            <a:off x="494926" y="9671310"/>
            <a:ext cx="5567925" cy="1785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Slide Number Placeholder 4"/>
          <p:cNvSpPr>
            <a:spLocks noGrp="1"/>
          </p:cNvSpPr>
          <p:nvPr>
            <p:ph type="sldNum" sz="quarter" idx="3"/>
          </p:nvPr>
        </p:nvSpPr>
        <p:spPr bwMode="gray">
          <a:xfrm>
            <a:off x="175703" y="9671310"/>
            <a:ext cx="190528" cy="1785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nº›</a:t>
            </a:fld>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341769" y="192454"/>
            <a:ext cx="364262" cy="364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emf"/><Relationship Id="rId1" Type="http://schemas.openxmlformats.org/officeDocument/2006/relationships/theme" Target="../theme/theme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153988" y="617538"/>
            <a:ext cx="3292475" cy="185261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2788" y="2938490"/>
            <a:ext cx="6506513" cy="646503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Header Placeholder 1"/>
          <p:cNvSpPr>
            <a:spLocks noGrp="1"/>
          </p:cNvSpPr>
          <p:nvPr>
            <p:ph type="hdr" sz="quarter"/>
          </p:nvPr>
        </p:nvSpPr>
        <p:spPr bwMode="gray">
          <a:xfrm>
            <a:off x="199933" y="183269"/>
            <a:ext cx="5900408" cy="185193"/>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Date Placeholder 2"/>
          <p:cNvSpPr>
            <a:spLocks noGrp="1"/>
          </p:cNvSpPr>
          <p:nvPr>
            <p:ph type="dt" sz="quarter" idx="1"/>
          </p:nvPr>
        </p:nvSpPr>
        <p:spPr bwMode="gray">
          <a:xfrm>
            <a:off x="6157508" y="9658526"/>
            <a:ext cx="540250" cy="185193"/>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11/28/2020</a:t>
            </a:fld>
            <a:endParaRPr lang="en-US" dirty="0"/>
          </a:p>
        </p:txBody>
      </p:sp>
      <p:sp>
        <p:nvSpPr>
          <p:cNvPr id="15" name="Footer Placeholder 3"/>
          <p:cNvSpPr>
            <a:spLocks noGrp="1"/>
          </p:cNvSpPr>
          <p:nvPr>
            <p:ph type="ftr" sz="quarter" idx="4"/>
          </p:nvPr>
        </p:nvSpPr>
        <p:spPr bwMode="gray">
          <a:xfrm>
            <a:off x="547782" y="9658526"/>
            <a:ext cx="5465661" cy="185193"/>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6" name="Slide Number Placeholder 4"/>
          <p:cNvSpPr>
            <a:spLocks noGrp="1"/>
          </p:cNvSpPr>
          <p:nvPr>
            <p:ph type="sldNum" sz="quarter" idx="5"/>
          </p:nvPr>
        </p:nvSpPr>
        <p:spPr bwMode="gray">
          <a:xfrm>
            <a:off x="192834" y="9658526"/>
            <a:ext cx="208896" cy="185193"/>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nº›</a:t>
            </a:fld>
            <a:endParaRPr lang="en-US"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298071" y="2056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a:t>
            </a:fld>
            <a:endParaRPr lang="en-US" dirty="0"/>
          </a:p>
        </p:txBody>
      </p:sp>
      <p:sp>
        <p:nvSpPr>
          <p:cNvPr id="3" name="Folienbildplatzhalter 2"/>
          <p:cNvSpPr>
            <a:spLocks noGrp="1" noRot="1" noChangeAspect="1"/>
          </p:cNvSpPr>
          <p:nvPr>
            <p:ph type="sldImg"/>
          </p:nvPr>
        </p:nvSpPr>
        <p:spPr/>
      </p:sp>
      <p:sp>
        <p:nvSpPr>
          <p:cNvPr id="5" name="Notizenplatzhalt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394621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0</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398936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1</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301617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2</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96965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4</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300893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5</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43755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6</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13369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7</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831547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18</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231885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9</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09351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20</a:t>
            </a:fld>
            <a:endParaRPr lang="en-US" dirty="0"/>
          </a:p>
        </p:txBody>
      </p:sp>
    </p:spTree>
    <p:extLst>
      <p:ext uri="{BB962C8B-B14F-4D97-AF65-F5344CB8AC3E}">
        <p14:creationId xmlns:p14="http://schemas.microsoft.com/office/powerpoint/2010/main" val="11568424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2</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469440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21</a:t>
            </a:fld>
            <a:endParaRPr lang="en-US" dirty="0"/>
          </a:p>
        </p:txBody>
      </p:sp>
    </p:spTree>
    <p:extLst>
      <p:ext uri="{BB962C8B-B14F-4D97-AF65-F5344CB8AC3E}">
        <p14:creationId xmlns:p14="http://schemas.microsoft.com/office/powerpoint/2010/main" val="21560171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22</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805456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23</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213776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24</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183207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25</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01375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26</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374925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27</a:t>
            </a:fld>
            <a:endParaRPr lang="en-US" dirty="0"/>
          </a:p>
        </p:txBody>
      </p:sp>
    </p:spTree>
    <p:extLst>
      <p:ext uri="{BB962C8B-B14F-4D97-AF65-F5344CB8AC3E}">
        <p14:creationId xmlns:p14="http://schemas.microsoft.com/office/powerpoint/2010/main" val="3153282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3</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416990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4</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909522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5</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69193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6</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50913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7</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850201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8</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144150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9</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685311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de Título">
    <p:bg>
      <p:bgPr>
        <a:solidFill>
          <a:schemeClr val="accent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5A2FEF8-95DF-4328-850D-3F7840A62554}"/>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pt-BR"/>
              <a:t>Clique para editar o estilo do subtítulo Mestre</a:t>
            </a:r>
            <a:endParaRPr lang="en-US" dirty="0"/>
          </a:p>
        </p:txBody>
      </p:sp>
      <p:sp>
        <p:nvSpPr>
          <p:cNvPr id="4" name="Date Placeholder 3"/>
          <p:cNvSpPr>
            <a:spLocks noGrp="1"/>
          </p:cNvSpPr>
          <p:nvPr>
            <p:ph type="dt" sz="half" idx="10"/>
          </p:nvPr>
        </p:nvSpPr>
        <p:spPr bwMode="gray"/>
        <p:txBody>
          <a:bodyPr/>
          <a:lstStyle/>
          <a:p>
            <a:fld id="{9453184E-21E7-418F-A1EC-A49E8D1E2D3B}" type="datetime1">
              <a:rPr lang="en-US" smtClean="0"/>
              <a:t>11/28/2020</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pt-BR"/>
              <a:t>Clique para editar o título Mestr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pt-BR"/>
              <a:t>Clique no ícone para adicionar uma imagem</a:t>
            </a:r>
            <a:endParaRPr lang="de-DE" dirty="0"/>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336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pt-BR"/>
              <a:t>Clique para editar o estilo do subtítulo Mestre</a:t>
            </a:r>
            <a:endParaRPr lang="en-US" dirty="0"/>
          </a:p>
        </p:txBody>
      </p:sp>
      <p:sp>
        <p:nvSpPr>
          <p:cNvPr id="2" name="Title 1"/>
          <p:cNvSpPr>
            <a:spLocks noGrp="1"/>
          </p:cNvSpPr>
          <p:nvPr>
            <p:ph type="title"/>
          </p:nvPr>
        </p:nvSpPr>
        <p:spPr bwMode="gray"/>
        <p:txBody>
          <a:bodyPr/>
          <a:lstStyle/>
          <a:p>
            <a:r>
              <a:rPr lang="pt-BR"/>
              <a:t>Clique para editar o título Mestre</a:t>
            </a:r>
            <a:endParaRPr lang="en-US" dirty="0"/>
          </a:p>
        </p:txBody>
      </p:sp>
      <p:sp>
        <p:nvSpPr>
          <p:cNvPr id="4" name="Date Placeholder 3"/>
          <p:cNvSpPr>
            <a:spLocks noGrp="1"/>
          </p:cNvSpPr>
          <p:nvPr>
            <p:ph type="dt" sz="half" idx="10"/>
          </p:nvPr>
        </p:nvSpPr>
        <p:spPr bwMode="gray"/>
        <p:txBody>
          <a:bodyPr/>
          <a:lstStyle/>
          <a:p>
            <a:fld id="{A13F43FA-A88D-45CF-A998-B7633C7E9A49}" type="datetime1">
              <a:rPr lang="en-US" smtClean="0"/>
              <a:t>11/28/2020</a:t>
            </a:fld>
            <a:endParaRPr lang="en-US" dirty="0"/>
          </a:p>
        </p:txBody>
      </p:sp>
      <p:sp>
        <p:nvSpPr>
          <p:cNvPr id="5" name="Footer Placeholder 4"/>
          <p:cNvSpPr>
            <a:spLocks noGrp="1"/>
          </p:cNvSpPr>
          <p:nvPr>
            <p:ph type="ftr" sz="quarter" idx="11"/>
          </p:nvPr>
        </p:nvSpPr>
        <p:spPr bwMode="gray"/>
        <p:txBody>
          <a:body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º›</a:t>
            </a:fld>
            <a:endParaRPr lang="en-US" dirty="0"/>
          </a:p>
        </p:txBody>
      </p:sp>
      <p:sp>
        <p:nvSpPr>
          <p:cNvPr id="11" name="Text Placeholder 10 (left)"/>
          <p:cNvSpPr>
            <a:spLocks noGrp="1"/>
          </p:cNvSpPr>
          <p:nvPr>
            <p:ph type="body" sz="quarter" idx="14"/>
          </p:nvPr>
        </p:nvSpPr>
        <p:spPr bwMode="gray">
          <a:xfrm>
            <a:off x="981820" y="3892749"/>
            <a:ext cx="5220000" cy="2592001"/>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2" name="Text Placeholder 10 (right)"/>
          <p:cNvSpPr>
            <a:spLocks noGrp="1"/>
          </p:cNvSpPr>
          <p:nvPr>
            <p:ph type="body" sz="quarter" idx="15"/>
          </p:nvPr>
        </p:nvSpPr>
        <p:spPr bwMode="gray">
          <a:xfrm>
            <a:off x="6559719" y="3892749"/>
            <a:ext cx="5220000" cy="2592001"/>
          </a:xfrm>
        </p:spPr>
        <p:txBody>
          <a:bodyPr/>
          <a:lstStyle>
            <a:lvl1pPr>
              <a:defRPr/>
            </a:lvl1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5" name="Picture Placeholder 14 (left)"/>
          <p:cNvSpPr>
            <a:spLocks noGrp="1"/>
          </p:cNvSpPr>
          <p:nvPr>
            <p:ph type="pic" sz="quarter" idx="16"/>
          </p:nvPr>
        </p:nvSpPr>
        <p:spPr bwMode="gray">
          <a:xfrm>
            <a:off x="981820" y="1732750"/>
            <a:ext cx="5220000" cy="1800000"/>
          </a:xfrm>
        </p:spPr>
        <p:txBody>
          <a:bodyPr tIns="540000" anchor="ctr"/>
          <a:lstStyle>
            <a:lvl1pPr algn="ctr">
              <a:defRPr/>
            </a:lvl1pPr>
          </a:lstStyle>
          <a:p>
            <a:r>
              <a:rPr lang="pt-BR"/>
              <a:t>Clique no ícone para adicionar uma imagem</a:t>
            </a:r>
            <a:endParaRPr lang="en-US" dirty="0"/>
          </a:p>
        </p:txBody>
      </p:sp>
      <p:sp>
        <p:nvSpPr>
          <p:cNvPr id="16" name="Picture Placeholder 14 (right)"/>
          <p:cNvSpPr>
            <a:spLocks noGrp="1"/>
          </p:cNvSpPr>
          <p:nvPr>
            <p:ph type="pic" sz="quarter" idx="17"/>
          </p:nvPr>
        </p:nvSpPr>
        <p:spPr bwMode="gray">
          <a:xfrm>
            <a:off x="6559719" y="1732750"/>
            <a:ext cx="5220000" cy="1800000"/>
          </a:xfrm>
        </p:spPr>
        <p:txBody>
          <a:bodyPr tIns="540000" anchor="ctr"/>
          <a:lstStyle>
            <a:lvl1pPr algn="ctr">
              <a:defRPr/>
            </a:lvl1pPr>
          </a:lstStyle>
          <a:p>
            <a:r>
              <a:rPr lang="pt-BR"/>
              <a:t>Clique no ícone para adicionar uma imagem</a:t>
            </a:r>
            <a:endParaRPr lang="en-US"/>
          </a:p>
        </p:txBody>
      </p:sp>
      <p:pic>
        <p:nvPicPr>
          <p:cNvPr id="13"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14"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83990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2228">
          <p15:clr>
            <a:srgbClr val="FBAE40"/>
          </p15:clr>
        </p15:guide>
        <p15:guide id="4" orient="horz" pos="2455">
          <p15:clr>
            <a:srgbClr val="FBAE40"/>
          </p15:clr>
        </p15:guide>
        <p15:guide id="5" pos="619">
          <p15:clr>
            <a:srgbClr val="FBAE40"/>
          </p15:clr>
        </p15:guide>
        <p15:guide id="6" pos="7423">
          <p15:clr>
            <a:srgbClr val="FBAE40"/>
          </p15:clr>
        </p15:guide>
        <p15:guide id="7" orient="horz" pos="1094">
          <p15:clr>
            <a:srgbClr val="FBAE40"/>
          </p15:clr>
        </p15:guide>
        <p15:guide id="8" orient="horz" pos="408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pt-BR"/>
              <a:t>Clique para editar o estilo do subtítulo Mestre</a:t>
            </a:r>
            <a:endParaRPr lang="en-US" dirty="0"/>
          </a:p>
        </p:txBody>
      </p:sp>
      <p:sp>
        <p:nvSpPr>
          <p:cNvPr id="2" name="Title 1"/>
          <p:cNvSpPr>
            <a:spLocks noGrp="1"/>
          </p:cNvSpPr>
          <p:nvPr>
            <p:ph type="title"/>
          </p:nvPr>
        </p:nvSpPr>
        <p:spPr bwMode="gray">
          <a:xfrm>
            <a:off x="981821" y="181938"/>
            <a:ext cx="10798460" cy="864000"/>
          </a:xfrm>
        </p:spPr>
        <p:txBody>
          <a:bodyPr/>
          <a:lstStyle/>
          <a:p>
            <a:r>
              <a:rPr lang="pt-BR"/>
              <a:t>Clique para editar o título Mestre</a:t>
            </a:r>
            <a:endParaRPr lang="en-US" dirty="0"/>
          </a:p>
        </p:txBody>
      </p:sp>
      <p:sp>
        <p:nvSpPr>
          <p:cNvPr id="4" name="Date Placeholder 3"/>
          <p:cNvSpPr>
            <a:spLocks noGrp="1"/>
          </p:cNvSpPr>
          <p:nvPr>
            <p:ph type="dt" sz="half" idx="10"/>
          </p:nvPr>
        </p:nvSpPr>
        <p:spPr bwMode="gray"/>
        <p:txBody>
          <a:bodyPr/>
          <a:lstStyle/>
          <a:p>
            <a:fld id="{B6DB8775-8226-4E8C-BBBC-5A871E3E17A7}" type="datetime1">
              <a:rPr lang="en-US" smtClean="0"/>
              <a:t>11/28/2020</a:t>
            </a:fld>
            <a:endParaRPr lang="en-US" dirty="0"/>
          </a:p>
        </p:txBody>
      </p:sp>
      <p:sp>
        <p:nvSpPr>
          <p:cNvPr id="5" name="Footer Placeholder 4"/>
          <p:cNvSpPr>
            <a:spLocks noGrp="1"/>
          </p:cNvSpPr>
          <p:nvPr>
            <p:ph type="ftr" sz="quarter" idx="11"/>
          </p:nvPr>
        </p:nvSpPr>
        <p:spPr bwMode="gray"/>
        <p:txBody>
          <a:body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º›</a:t>
            </a:fld>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28923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4086">
          <p15:clr>
            <a:srgbClr val="FBAE40"/>
          </p15:clr>
        </p15:guide>
        <p15:guide id="4" orient="horz" pos="1094">
          <p15:clr>
            <a:srgbClr val="FBAE40"/>
          </p15:clr>
        </p15:guide>
        <p15:guide id="5" pos="2150">
          <p15:clr>
            <a:srgbClr val="FBAE40"/>
          </p15:clr>
        </p15:guide>
        <p15:guide id="6" pos="2376">
          <p15:clr>
            <a:srgbClr val="FBAE40"/>
          </p15:clr>
        </p15:guide>
        <p15:guide id="7" pos="3908">
          <p15:clr>
            <a:srgbClr val="FBAE40"/>
          </p15:clr>
        </p15:guide>
        <p15:guide id="8" pos="4021">
          <p15:clr>
            <a:srgbClr val="FBAE40"/>
          </p15:clr>
        </p15:guide>
        <p15:guide id="9" pos="4134">
          <p15:clr>
            <a:srgbClr val="FBAE40"/>
          </p15:clr>
        </p15:guide>
        <p15:guide id="10" pos="5667">
          <p15:clr>
            <a:srgbClr val="FBAE40"/>
          </p15:clr>
        </p15:guide>
        <p15:guide id="11" pos="5894">
          <p15:clr>
            <a:srgbClr val="FBAE40"/>
          </p15:clr>
        </p15:guide>
        <p15:guide id="12" orient="horz" pos="2478">
          <p15:clr>
            <a:srgbClr val="FBAE40"/>
          </p15:clr>
        </p15:guide>
        <p15:guide id="13" orient="horz" pos="2704">
          <p15:clr>
            <a:srgbClr val="FBAE40"/>
          </p15:clr>
        </p15:guide>
        <p15:guide id="14" orient="horz" pos="259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282" y="1052513"/>
            <a:ext cx="10800000" cy="5432237"/>
          </a:xfrm>
        </p:spPr>
        <p:txBody>
          <a:bodyPr bIns="0"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pt-BR"/>
              <a:t>Clique para editar o estilo do subtítulo Mestre</a:t>
            </a:r>
            <a:endParaRPr lang="en-US" dirty="0"/>
          </a:p>
        </p:txBody>
      </p:sp>
      <p:sp>
        <p:nvSpPr>
          <p:cNvPr id="3" name="Date Placeholder 2"/>
          <p:cNvSpPr>
            <a:spLocks noGrp="1"/>
          </p:cNvSpPr>
          <p:nvPr>
            <p:ph type="dt" sz="half" idx="10"/>
          </p:nvPr>
        </p:nvSpPr>
        <p:spPr bwMode="gray"/>
        <p:txBody>
          <a:bodyPr/>
          <a:lstStyle/>
          <a:p>
            <a:fld id="{8096B027-38B9-43F7-A592-83EA0A775820}" type="datetime1">
              <a:rPr lang="en-US" smtClean="0"/>
              <a:t>11/28/2020</a:t>
            </a:fld>
            <a:endParaRPr lang="en-US" dirty="0"/>
          </a:p>
        </p:txBody>
      </p:sp>
      <p:sp>
        <p:nvSpPr>
          <p:cNvPr id="4" name="Footer Placeholder 3"/>
          <p:cNvSpPr>
            <a:spLocks noGrp="1"/>
          </p:cNvSpPr>
          <p:nvPr>
            <p:ph type="ftr" sz="quarter" idx="11"/>
          </p:nvPr>
        </p:nvSpPr>
        <p:spPr bwMode="gray"/>
        <p:txBody>
          <a:bodyPr/>
          <a:lstStyle/>
          <a:p>
            <a:r>
              <a:rPr lang="en-US"/>
              <a:t>/// Bayer 16:9 Template /// September 2018</a:t>
            </a:r>
            <a:endParaRPr lang="en-US" dirty="0"/>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nº›</a:t>
            </a:fld>
            <a:endParaRPr lang="en-US" dirty="0"/>
          </a:p>
        </p:txBody>
      </p:sp>
      <p:sp>
        <p:nvSpPr>
          <p:cNvPr id="2" name="Title 1"/>
          <p:cNvSpPr>
            <a:spLocks noGrp="1"/>
          </p:cNvSpPr>
          <p:nvPr>
            <p:ph type="title"/>
          </p:nvPr>
        </p:nvSpPr>
        <p:spPr bwMode="gray"/>
        <p:txBody>
          <a:bodyPr/>
          <a:lstStyle/>
          <a:p>
            <a:r>
              <a:rPr lang="pt-BR"/>
              <a:t>Clique para editar o título Mestre</a:t>
            </a:r>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8"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1970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663">
          <p15:clr>
            <a:srgbClr val="FBAE40"/>
          </p15:clr>
        </p15:guide>
        <p15:guide id="4" orient="horz" pos="408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74F30451-A35E-4E06-ABE9-57892F294C45}" type="datetime1">
              <a:rPr lang="en-US" smtClean="0"/>
              <a:t>11/28/2020</a:t>
            </a:fld>
            <a:endParaRPr lang="en-US" dirty="0"/>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6" name="Picture Placeholder 14"/>
          <p:cNvSpPr>
            <a:spLocks noGrp="1"/>
          </p:cNvSpPr>
          <p:nvPr>
            <p:ph type="pic" sz="quarter" idx="16"/>
          </p:nvPr>
        </p:nvSpPr>
        <p:spPr bwMode="gray">
          <a:xfrm>
            <a:off x="0" y="0"/>
            <a:ext cx="12190413" cy="6858000"/>
          </a:xfrm>
        </p:spPr>
        <p:txBody>
          <a:bodyPr tIns="540000" anchor="ctr"/>
          <a:lstStyle>
            <a:lvl1pPr algn="ctr">
              <a:defRPr/>
            </a:lvl1pPr>
          </a:lstStyle>
          <a:p>
            <a:r>
              <a:rPr lang="pt-BR"/>
              <a:t>Clique no ícone para adicionar uma imagem</a:t>
            </a:r>
            <a:endParaRPr lang="en-US"/>
          </a:p>
        </p:txBody>
      </p:sp>
    </p:spTree>
    <p:extLst>
      <p:ext uri="{BB962C8B-B14F-4D97-AF65-F5344CB8AC3E}">
        <p14:creationId xmlns:p14="http://schemas.microsoft.com/office/powerpoint/2010/main" val="559345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19" y="1732422"/>
            <a:ext cx="5381498"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pt-BR"/>
              <a:t>Clique para editar o estilo do subtítulo Mestre</a:t>
            </a:r>
            <a:endParaRPr lang="en-US" dirty="0"/>
          </a:p>
        </p:txBody>
      </p:sp>
      <p:sp>
        <p:nvSpPr>
          <p:cNvPr id="4" name="Date Placeholder 3"/>
          <p:cNvSpPr>
            <a:spLocks noGrp="1"/>
          </p:cNvSpPr>
          <p:nvPr>
            <p:ph type="dt" sz="half" idx="10"/>
          </p:nvPr>
        </p:nvSpPr>
        <p:spPr bwMode="gray"/>
        <p:txBody>
          <a:bodyPr/>
          <a:lstStyle/>
          <a:p>
            <a:fld id="{A3BDA798-F8E0-4709-A972-C462B33FAF2F}" type="datetime1">
              <a:rPr lang="en-US" smtClean="0"/>
              <a:t>11/28/2020</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white">
          <a:xfrm>
            <a:off x="708819" y="2424948"/>
            <a:ext cx="5381498" cy="1620000"/>
          </a:xfrm>
        </p:spPr>
        <p:txBody>
          <a:bodyPr anchor="t"/>
          <a:lstStyle>
            <a:lvl1pPr>
              <a:defRPr sz="5400" i="1">
                <a:solidFill>
                  <a:schemeClr val="accent4"/>
                </a:solidFill>
              </a:defRPr>
            </a:lvl1pPr>
          </a:lstStyle>
          <a:p>
            <a:r>
              <a:rPr lang="pt-BR"/>
              <a:t>Clique para editar o título Mestr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pt-BR"/>
              <a:t>Clique no ícone para adicionar uma imagem</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104311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1"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pt-BR"/>
              <a:t>Clique para editar o estilo do subtítulo Mestre</a:t>
            </a:r>
            <a:endParaRPr lang="en-US" dirty="0"/>
          </a:p>
        </p:txBody>
      </p:sp>
      <p:sp>
        <p:nvSpPr>
          <p:cNvPr id="4" name="Date Placeholder 3"/>
          <p:cNvSpPr>
            <a:spLocks noGrp="1"/>
          </p:cNvSpPr>
          <p:nvPr>
            <p:ph type="dt" sz="half" idx="10"/>
          </p:nvPr>
        </p:nvSpPr>
        <p:spPr bwMode="gray"/>
        <p:txBody>
          <a:bodyPr/>
          <a:lstStyle/>
          <a:p>
            <a:fld id="{E8FB917D-8BDA-4646-85F0-B3EB7EC9AA4C}" type="datetime1">
              <a:rPr lang="en-US" smtClean="0"/>
              <a:t>11/28/2020</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tx2"/>
                </a:solidFill>
              </a:defRPr>
            </a:lvl1pPr>
          </a:lstStyle>
          <a:p>
            <a:r>
              <a:rPr lang="pt-BR"/>
              <a:t>Clique para editar o título Mestr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pt-BR"/>
              <a:t>Clique no ícone para adicionar uma imagem</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56277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0"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pt-BR"/>
              <a:t>Clique para editar o estilo do subtítulo Mestre</a:t>
            </a:r>
            <a:endParaRPr lang="en-US" dirty="0"/>
          </a:p>
        </p:txBody>
      </p:sp>
      <p:sp>
        <p:nvSpPr>
          <p:cNvPr id="4" name="Date Placeholder 3"/>
          <p:cNvSpPr>
            <a:spLocks noGrp="1"/>
          </p:cNvSpPr>
          <p:nvPr>
            <p:ph type="dt" sz="half" idx="10"/>
          </p:nvPr>
        </p:nvSpPr>
        <p:spPr bwMode="gray"/>
        <p:txBody>
          <a:bodyPr/>
          <a:lstStyle/>
          <a:p>
            <a:fld id="{93C03279-9369-4B60-857C-CA23090BD5EE}" type="datetime1">
              <a:rPr lang="en-US" smtClean="0"/>
              <a:t>11/28/2020</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accent2"/>
                </a:solidFill>
              </a:defRPr>
            </a:lvl1pPr>
          </a:lstStyle>
          <a:p>
            <a:r>
              <a:rPr lang="pt-BR"/>
              <a:t>Clique para editar o título Mestr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pt-BR"/>
              <a:t>Clique no ícone para adicionar uma imagem</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1871054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elfolie">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pt-BR"/>
              <a:t>Clique para editar o estilo do subtítulo Mestre</a:t>
            </a:r>
            <a:endParaRPr lang="en-US" dirty="0"/>
          </a:p>
        </p:txBody>
      </p:sp>
      <p:sp>
        <p:nvSpPr>
          <p:cNvPr id="4" name="Date Placeholder 3"/>
          <p:cNvSpPr>
            <a:spLocks noGrp="1"/>
          </p:cNvSpPr>
          <p:nvPr>
            <p:ph type="dt" sz="half" idx="10"/>
          </p:nvPr>
        </p:nvSpPr>
        <p:spPr bwMode="gray"/>
        <p:txBody>
          <a:bodyPr/>
          <a:lstStyle/>
          <a:p>
            <a:fld id="{2ED9FCB3-9B29-42A8-A735-DBF9B3C4108B}" type="datetime1">
              <a:rPr lang="en-US" smtClean="0"/>
              <a:t>11/28/2020</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pt-BR"/>
              <a:t>Clique para editar o título Mestr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4" name="Picture Placeholder 12"/>
          <p:cNvSpPr>
            <a:spLocks noGrp="1"/>
          </p:cNvSpPr>
          <p:nvPr>
            <p:ph type="pic" sz="quarter" idx="14"/>
          </p:nvPr>
        </p:nvSpPr>
        <p:spPr bwMode="gray">
          <a:xfrm>
            <a:off x="4077841" y="0"/>
            <a:ext cx="8114953"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p:spPr>
        <p:txBody>
          <a:bodyPr wrap="square" tIns="540000" anchor="ctr">
            <a:noAutofit/>
          </a:bodyPr>
          <a:lstStyle>
            <a:lvl1pPr algn="ctr">
              <a:defRPr/>
            </a:lvl1pPr>
          </a:lstStyle>
          <a:p>
            <a:r>
              <a:rPr lang="pt-BR"/>
              <a:t>Clique no ícone para adicionar uma imagem</a:t>
            </a:r>
            <a:endParaRPr lang="de-DE" dirty="0"/>
          </a:p>
        </p:txBody>
      </p:sp>
      <p:pic>
        <p:nvPicPr>
          <p:cNvPr id="1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61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pt-BR"/>
              <a:t>Clique para editar o estilo do subtítulo Mestre</a:t>
            </a:r>
            <a:endParaRPr lang="en-US" dirty="0"/>
          </a:p>
        </p:txBody>
      </p:sp>
      <p:sp>
        <p:nvSpPr>
          <p:cNvPr id="4" name="Date Placeholder 3"/>
          <p:cNvSpPr>
            <a:spLocks noGrp="1"/>
          </p:cNvSpPr>
          <p:nvPr>
            <p:ph type="dt" sz="half" idx="10"/>
          </p:nvPr>
        </p:nvSpPr>
        <p:spPr bwMode="gray"/>
        <p:txBody>
          <a:bodyPr/>
          <a:lstStyle/>
          <a:p>
            <a:fld id="{2CB09DE6-6C5C-466A-98EE-CF45D40F0870}" type="datetime1">
              <a:rPr lang="en-US" smtClean="0"/>
              <a:t>11/28/2020</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tx2"/>
                </a:solidFill>
              </a:defRPr>
            </a:lvl1pPr>
          </a:lstStyle>
          <a:p>
            <a:r>
              <a:rPr lang="pt-BR"/>
              <a:t>Clique para editar o título Mestr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8C0614FA-2289-4D50-861D-D1CE2042502D}"/>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2CD53346-3B88-4ECD-BC3C-B158CECCD4F5}"/>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pt-BR"/>
              <a:t>Clique no ícone para adicionar uma imagem</a:t>
            </a:r>
            <a:endParaRPr lang="de-DE" dirty="0"/>
          </a:p>
        </p:txBody>
      </p:sp>
      <p:sp>
        <p:nvSpPr>
          <p:cNvPr id="13" name="Logoschutz" hidden="1">
            <a:extLst>
              <a:ext uri="{FF2B5EF4-FFF2-40B4-BE49-F238E27FC236}">
                <a16:creationId xmlns:a16="http://schemas.microsoft.com/office/drawing/2014/main" id="{2FE56050-78D4-446C-87C6-B9C42DDC4070}"/>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310360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5"/>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58331062-53AF-412B-A235-6DCBA819F08B}"/>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pt-BR"/>
              <a:t>Clique para editar o estilo do subtítulo Mestre</a:t>
            </a:r>
            <a:endParaRPr lang="en-US" dirty="0"/>
          </a:p>
        </p:txBody>
      </p:sp>
      <p:sp>
        <p:nvSpPr>
          <p:cNvPr id="4" name="Date Placeholder 3"/>
          <p:cNvSpPr>
            <a:spLocks noGrp="1"/>
          </p:cNvSpPr>
          <p:nvPr>
            <p:ph type="dt" sz="half" idx="10"/>
          </p:nvPr>
        </p:nvSpPr>
        <p:spPr bwMode="gray"/>
        <p:txBody>
          <a:bodyPr/>
          <a:lstStyle/>
          <a:p>
            <a:fld id="{F99CCC57-2F27-4712-AC15-A35FC57882C5}" type="datetime1">
              <a:rPr lang="en-US" smtClean="0"/>
              <a:t>11/28/2020</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2"/>
                </a:solidFill>
              </a:defRPr>
            </a:lvl1pPr>
          </a:lstStyle>
          <a:p>
            <a:r>
              <a:rPr lang="pt-BR"/>
              <a:t>Clique para editar o título Mestr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4F895202-4A4D-43A2-B3BF-4253EA64031B}"/>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pt-BR"/>
              <a:t>Clique no ícone para adicionar uma imagem</a:t>
            </a:r>
            <a:endParaRPr lang="de-DE" dirty="0"/>
          </a:p>
        </p:txBody>
      </p:sp>
      <p:sp>
        <p:nvSpPr>
          <p:cNvPr id="13" name="Logoschutz" hidden="1">
            <a:extLst>
              <a:ext uri="{FF2B5EF4-FFF2-40B4-BE49-F238E27FC236}">
                <a16:creationId xmlns:a16="http://schemas.microsoft.com/office/drawing/2014/main" id="{82EE1829-716E-40CB-A4A0-CAB36B358641}"/>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416771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1976765" y="403540"/>
            <a:ext cx="9624002"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337" y="1843721"/>
            <a:ext cx="4680000" cy="4641030"/>
          </a:xfrm>
        </p:spPr>
        <p:txBody>
          <a:bodyPr/>
          <a:lstStyle>
            <a:lvl1pPr marL="270000" indent="-270000">
              <a:spcBef>
                <a:spcPts val="1800"/>
              </a:spcBef>
              <a:spcAft>
                <a:spcPts val="0"/>
              </a:spcAft>
              <a:buFontTx/>
              <a:buBlip>
                <a:blip r:embed="rId3"/>
              </a:buBlip>
              <a:defRPr sz="2000"/>
            </a:lvl1pPr>
            <a:lvl2pPr marL="540000" indent="-270000">
              <a:spcBef>
                <a:spcPts val="600"/>
              </a:spcBef>
              <a:spcAft>
                <a:spcPts val="0"/>
              </a:spcAft>
              <a:buFontTx/>
              <a:buBlip>
                <a:blip r:embed="rId4"/>
              </a:buBlip>
              <a:defRPr sz="2000"/>
            </a:lvl2pPr>
            <a:lvl3pPr marL="810000" indent="-270000">
              <a:spcBef>
                <a:spcPts val="600"/>
              </a:spcBef>
              <a:spcAft>
                <a:spcPts val="0"/>
              </a:spcAft>
              <a:buFontTx/>
              <a:buBlip>
                <a:blip r:embed="rId5"/>
              </a:buBlip>
              <a:defRPr sz="2000"/>
            </a:lvl3pPr>
            <a:lvl4pPr marL="1080000" indent="-270000">
              <a:spcBef>
                <a:spcPts val="600"/>
              </a:spcBef>
              <a:spcAft>
                <a:spcPts val="0"/>
              </a:spcAft>
              <a:buFontTx/>
              <a:buBlip>
                <a:blip r:embed="rId6"/>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Date Placeholder 2"/>
          <p:cNvSpPr>
            <a:spLocks noGrp="1"/>
          </p:cNvSpPr>
          <p:nvPr>
            <p:ph type="dt" sz="half" idx="10"/>
          </p:nvPr>
        </p:nvSpPr>
        <p:spPr bwMode="gray"/>
        <p:txBody>
          <a:bodyPr/>
          <a:lstStyle/>
          <a:p>
            <a:fld id="{3EB53ADF-5111-40B8-BD25-E86AF4ED5048}" type="datetime1">
              <a:rPr lang="en-US" smtClean="0"/>
              <a:t>11/28/2020</a:t>
            </a:fld>
            <a:endParaRPr lang="en-US" dirty="0"/>
          </a:p>
        </p:txBody>
      </p:sp>
      <p:sp>
        <p:nvSpPr>
          <p:cNvPr id="4" name="Footer Placeholder 3"/>
          <p:cNvSpPr>
            <a:spLocks noGrp="1"/>
          </p:cNvSpPr>
          <p:nvPr>
            <p:ph type="ftr" sz="quarter" idx="11"/>
          </p:nvPr>
        </p:nvSpPr>
        <p:spPr bwMode="gray">
          <a:xfrm>
            <a:off x="974672" y="6617933"/>
            <a:ext cx="5710665" cy="108000"/>
          </a:xfrm>
        </p:spPr>
        <p:txBody>
          <a:bodyPr/>
          <a:lstStyle/>
          <a:p>
            <a:r>
              <a:rPr lang="en-US"/>
              <a:t>/// Bayer 16:9 Template /// September 2018</a:t>
            </a:r>
            <a:endParaRPr lang="en-US" dirty="0"/>
          </a:p>
        </p:txBody>
      </p:sp>
      <p:sp>
        <p:nvSpPr>
          <p:cNvPr id="5" name="Slide Number Placeholder 4"/>
          <p:cNvSpPr>
            <a:spLocks noGrp="1"/>
          </p:cNvSpPr>
          <p:nvPr>
            <p:ph type="sldNum" sz="quarter" idx="12"/>
          </p:nvPr>
        </p:nvSpPr>
        <p:spPr bwMode="gray">
          <a:xfrm>
            <a:off x="195843" y="6617933"/>
            <a:ext cx="392326" cy="108000"/>
          </a:xfrm>
        </p:spPr>
        <p:txBody>
          <a:bodyPr/>
          <a:lstStyle/>
          <a:p>
            <a:fld id="{EEAD9179-7A6B-4268-BEB2-F3B8EB06115B}" type="slidenum">
              <a:rPr lang="en-US" smtClean="0"/>
              <a:pPr/>
              <a:t>‹nº›</a:t>
            </a:fld>
            <a:endParaRPr lang="en-US" dirty="0"/>
          </a:p>
        </p:txBody>
      </p:sp>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701832" y="704850"/>
            <a:ext cx="72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bwMode="black">
          <a:xfrm>
            <a:off x="7804236" y="1"/>
            <a:ext cx="4386177"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6"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733913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54">
          <p15:clr>
            <a:srgbClr val="FBAE40"/>
          </p15:clr>
        </p15:guide>
        <p15:guide id="2" orient="horz" pos="4086">
          <p15:clr>
            <a:srgbClr val="FBAE40"/>
          </p15:clr>
        </p15:guide>
        <p15:guide id="3" orient="horz" pos="1162">
          <p15:clr>
            <a:srgbClr val="FBAE40"/>
          </p15:clr>
        </p15:guide>
        <p15:guide id="4" pos="421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575"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3" name="Date Placeholder 2"/>
          <p:cNvSpPr>
            <a:spLocks noGrp="1"/>
          </p:cNvSpPr>
          <p:nvPr>
            <p:ph type="dt" sz="half" idx="10"/>
          </p:nvPr>
        </p:nvSpPr>
        <p:spPr bwMode="gray"/>
        <p:txBody>
          <a:bodyPr/>
          <a:lstStyle/>
          <a:p>
            <a:fld id="{EACA9DDE-6CF4-4C99-A2B7-6AB362D7B47D}" type="datetime1">
              <a:rPr lang="en-US" smtClean="0"/>
              <a:t>11/28/2020</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September 2018</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º›</a:t>
            </a:fld>
            <a:endParaRPr lang="en-US" dirty="0"/>
          </a:p>
        </p:txBody>
      </p:sp>
      <p:sp>
        <p:nvSpPr>
          <p:cNvPr id="26" name="Subtitle 2"/>
          <p:cNvSpPr>
            <a:spLocks noGrp="1"/>
          </p:cNvSpPr>
          <p:nvPr>
            <p:ph type="subTitle" idx="1"/>
          </p:nvPr>
        </p:nvSpPr>
        <p:spPr bwMode="black">
          <a:xfrm>
            <a:off x="6846097" y="3064854"/>
            <a:ext cx="4500000"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pt-BR"/>
              <a:t>Clique para editar o estilo do subtítulo Mestre</a:t>
            </a:r>
            <a:endParaRPr lang="en-US" dirty="0"/>
          </a:p>
        </p:txBody>
      </p:sp>
      <p:sp>
        <p:nvSpPr>
          <p:cNvPr id="2" name="Title 1"/>
          <p:cNvSpPr>
            <a:spLocks noGrp="1"/>
          </p:cNvSpPr>
          <p:nvPr>
            <p:ph type="title"/>
          </p:nvPr>
        </p:nvSpPr>
        <p:spPr bwMode="black">
          <a:xfrm>
            <a:off x="1809949" y="1473902"/>
            <a:ext cx="4140000" cy="1440753"/>
          </a:xfrm>
        </p:spPr>
        <p:txBody>
          <a:bodyPr anchor="b"/>
          <a:lstStyle>
            <a:lvl1pPr algn="r">
              <a:defRPr sz="4800" i="1">
                <a:solidFill>
                  <a:schemeClr val="bg1"/>
                </a:solidFill>
              </a:defRPr>
            </a:lvl1pPr>
          </a:lstStyle>
          <a:p>
            <a:r>
              <a:rPr lang="pt-BR"/>
              <a:t>Clique para editar o título Mestre</a:t>
            </a:r>
            <a:endParaRPr lang="en-US" dirty="0"/>
          </a:p>
        </p:txBody>
      </p:sp>
      <p:grpSp>
        <p:nvGrpSpPr>
          <p:cNvPr id="49" name="Group 48"/>
          <p:cNvGrpSpPr/>
          <p:nvPr/>
        </p:nvGrpSpPr>
        <p:grpSpPr bwMode="black">
          <a:xfrm>
            <a:off x="4710111" y="1"/>
            <a:ext cx="2593510"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341354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39926" y="0"/>
            <a:ext cx="645048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grpSp>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6678387" y="2989333"/>
            <a:ext cx="4500000" cy="1440753"/>
          </a:xfrm>
        </p:spPr>
        <p:txBody>
          <a:bodyPr anchor="t"/>
          <a:lstStyle>
            <a:lvl1pPr algn="l">
              <a:defRPr sz="4800" i="1">
                <a:solidFill>
                  <a:schemeClr val="bg1"/>
                </a:solidFill>
              </a:defRPr>
            </a:lvl1pPr>
          </a:lstStyle>
          <a:p>
            <a:r>
              <a:rPr lang="pt-BR"/>
              <a:t>Clique para editar o título Mestre</a:t>
            </a:r>
            <a:endParaRPr lang="en-US" dirty="0"/>
          </a:p>
        </p:txBody>
      </p:sp>
      <p:sp>
        <p:nvSpPr>
          <p:cNvPr id="3" name="Date Placeholder 2"/>
          <p:cNvSpPr>
            <a:spLocks noGrp="1"/>
          </p:cNvSpPr>
          <p:nvPr>
            <p:ph type="dt" sz="half" idx="10"/>
          </p:nvPr>
        </p:nvSpPr>
        <p:spPr bwMode="gray"/>
        <p:txBody>
          <a:bodyPr/>
          <a:lstStyle/>
          <a:p>
            <a:fld id="{EC4C773C-56E9-4938-AEBD-712BC038121E}" type="datetime1">
              <a:rPr lang="en-US" smtClean="0"/>
              <a:t>11/28/2020</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September 2018</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º›</a:t>
            </a:fld>
            <a:endParaRPr lang="en-US" dirty="0"/>
          </a:p>
        </p:txBody>
      </p:sp>
      <p:sp>
        <p:nvSpPr>
          <p:cNvPr id="26" name="Subtitle 2"/>
          <p:cNvSpPr>
            <a:spLocks noGrp="1"/>
          </p:cNvSpPr>
          <p:nvPr>
            <p:ph type="subTitle" idx="1"/>
          </p:nvPr>
        </p:nvSpPr>
        <p:spPr bwMode="black">
          <a:xfrm>
            <a:off x="1902190" y="2134650"/>
            <a:ext cx="4500000"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pt-BR"/>
              <a:t>Clique para editar o estilo do subtítulo Mestre</a:t>
            </a:r>
            <a:endParaRPr lang="en-US" dirty="0"/>
          </a:p>
        </p:txBody>
      </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678404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4854344" y="1462158"/>
            <a:ext cx="4500000" cy="1440753"/>
          </a:xfrm>
        </p:spPr>
        <p:txBody>
          <a:bodyPr anchor="b"/>
          <a:lstStyle>
            <a:lvl1pPr algn="l">
              <a:defRPr sz="4800" i="1">
                <a:solidFill>
                  <a:schemeClr val="bg1"/>
                </a:solidFill>
              </a:defRPr>
            </a:lvl1pPr>
          </a:lstStyle>
          <a:p>
            <a:r>
              <a:rPr lang="pt-BR"/>
              <a:t>Clique para editar o título Mestre</a:t>
            </a:r>
            <a:endParaRPr lang="en-US" dirty="0"/>
          </a:p>
        </p:txBody>
      </p:sp>
      <p:sp>
        <p:nvSpPr>
          <p:cNvPr id="3" name="Date Placeholder 2"/>
          <p:cNvSpPr>
            <a:spLocks noGrp="1"/>
          </p:cNvSpPr>
          <p:nvPr>
            <p:ph type="dt" sz="half" idx="10"/>
          </p:nvPr>
        </p:nvSpPr>
        <p:spPr bwMode="gray"/>
        <p:txBody>
          <a:bodyPr/>
          <a:lstStyle/>
          <a:p>
            <a:fld id="{E309FE29-4079-4042-82D4-30F65321BBEB}" type="datetime1">
              <a:rPr lang="en-US" smtClean="0"/>
              <a:t>11/28/2020</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September 2018</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º›</a:t>
            </a:fld>
            <a:endParaRPr lang="en-US" dirty="0"/>
          </a:p>
        </p:txBody>
      </p:sp>
      <p:sp>
        <p:nvSpPr>
          <p:cNvPr id="48" name="Subtitle 2"/>
          <p:cNvSpPr>
            <a:spLocks noGrp="1"/>
          </p:cNvSpPr>
          <p:nvPr>
            <p:ph type="subTitle" idx="1"/>
          </p:nvPr>
        </p:nvSpPr>
        <p:spPr bwMode="black">
          <a:xfrm>
            <a:off x="7055681" y="3064854"/>
            <a:ext cx="4500000"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pt-BR"/>
              <a:t>Clique para editar o estilo do subtítulo Mestre</a:t>
            </a:r>
            <a:endParaRPr lang="en-US" dirty="0"/>
          </a:p>
        </p:txBody>
      </p:sp>
      <p:grpSp>
        <p:nvGrpSpPr>
          <p:cNvPr id="24" name="Group 23"/>
          <p:cNvGrpSpPr/>
          <p:nvPr/>
        </p:nvGrpSpPr>
        <p:grpSpPr bwMode="black">
          <a:xfrm>
            <a:off x="759608" y="1"/>
            <a:ext cx="414884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26925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údo">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pt-BR"/>
              <a:t>Clique para editar o estilo do subtítulo Mestre</a:t>
            </a:r>
            <a:endParaRPr lang="en-US" dirty="0"/>
          </a:p>
        </p:txBody>
      </p:sp>
      <p:sp>
        <p:nvSpPr>
          <p:cNvPr id="2" name="Title 1"/>
          <p:cNvSpPr>
            <a:spLocks noGrp="1"/>
          </p:cNvSpPr>
          <p:nvPr>
            <p:ph type="title"/>
          </p:nvPr>
        </p:nvSpPr>
        <p:spPr bwMode="gray"/>
        <p:txBody>
          <a:bodyPr/>
          <a:lstStyle/>
          <a:p>
            <a:r>
              <a:rPr lang="pt-BR"/>
              <a:t>Clique para editar o título Mestre</a:t>
            </a:r>
            <a:endParaRPr lang="en-US" dirty="0"/>
          </a:p>
        </p:txBody>
      </p:sp>
      <p:sp>
        <p:nvSpPr>
          <p:cNvPr id="4" name="Date Placeholder 3"/>
          <p:cNvSpPr>
            <a:spLocks noGrp="1"/>
          </p:cNvSpPr>
          <p:nvPr>
            <p:ph type="dt" sz="half" idx="10"/>
          </p:nvPr>
        </p:nvSpPr>
        <p:spPr bwMode="gray"/>
        <p:txBody>
          <a:bodyPr/>
          <a:lstStyle/>
          <a:p>
            <a:fld id="{76166E1B-5D18-476A-8C5F-E90A4ECE4845}" type="datetime1">
              <a:rPr lang="en-US" smtClean="0"/>
              <a:t>11/28/2020</a:t>
            </a:fld>
            <a:endParaRPr lang="en-US" dirty="0"/>
          </a:p>
        </p:txBody>
      </p:sp>
      <p:sp>
        <p:nvSpPr>
          <p:cNvPr id="5" name="Footer Placeholder 4"/>
          <p:cNvSpPr>
            <a:spLocks noGrp="1"/>
          </p:cNvSpPr>
          <p:nvPr>
            <p:ph type="ftr" sz="quarter" idx="11"/>
          </p:nvPr>
        </p:nvSpPr>
        <p:spPr bwMode="gray"/>
        <p:txBody>
          <a:body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º›</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820" y="1732751"/>
            <a:ext cx="10798461" cy="4751999"/>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de-DE" dirty="0"/>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03183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pt-BR"/>
              <a:t>Clique para editar o estilo do subtítulo Mestre</a:t>
            </a:r>
            <a:endParaRPr lang="en-US" dirty="0"/>
          </a:p>
        </p:txBody>
      </p:sp>
      <p:sp>
        <p:nvSpPr>
          <p:cNvPr id="2" name="Title 1"/>
          <p:cNvSpPr>
            <a:spLocks noGrp="1"/>
          </p:cNvSpPr>
          <p:nvPr>
            <p:ph type="title"/>
          </p:nvPr>
        </p:nvSpPr>
        <p:spPr bwMode="gray"/>
        <p:txBody>
          <a:bodyPr/>
          <a:lstStyle/>
          <a:p>
            <a:r>
              <a:rPr lang="pt-BR"/>
              <a:t>Clique para editar o título Mestre</a:t>
            </a:r>
            <a:endParaRPr lang="en-US" dirty="0"/>
          </a:p>
        </p:txBody>
      </p:sp>
      <p:sp>
        <p:nvSpPr>
          <p:cNvPr id="4" name="Date Placeholder 3"/>
          <p:cNvSpPr>
            <a:spLocks noGrp="1"/>
          </p:cNvSpPr>
          <p:nvPr>
            <p:ph type="dt" sz="half" idx="10"/>
          </p:nvPr>
        </p:nvSpPr>
        <p:spPr bwMode="gray"/>
        <p:txBody>
          <a:bodyPr/>
          <a:lstStyle/>
          <a:p>
            <a:fld id="{EEDDFC53-89AB-4BE8-8EEE-3EC422BCF930}" type="datetime1">
              <a:rPr lang="en-US" smtClean="0"/>
              <a:t>11/28/2020</a:t>
            </a:fld>
            <a:endParaRPr lang="en-US" dirty="0"/>
          </a:p>
        </p:txBody>
      </p:sp>
      <p:sp>
        <p:nvSpPr>
          <p:cNvPr id="5" name="Footer Placeholder 4"/>
          <p:cNvSpPr>
            <a:spLocks noGrp="1"/>
          </p:cNvSpPr>
          <p:nvPr>
            <p:ph type="ftr" sz="quarter" idx="11"/>
          </p:nvPr>
        </p:nvSpPr>
        <p:spPr bwMode="gray"/>
        <p:txBody>
          <a:body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º›</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820" y="1732750"/>
            <a:ext cx="5220000" cy="4752001"/>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de-DE" dirty="0"/>
          </a:p>
        </p:txBody>
      </p:sp>
      <p:sp>
        <p:nvSpPr>
          <p:cNvPr id="13" name="Inhaltsplatzhalter 12"/>
          <p:cNvSpPr>
            <a:spLocks noGrp="1"/>
          </p:cNvSpPr>
          <p:nvPr>
            <p:ph sz="quarter" idx="17"/>
          </p:nvPr>
        </p:nvSpPr>
        <p:spPr>
          <a:xfrm>
            <a:off x="6559603" y="1732750"/>
            <a:ext cx="5220000" cy="4752001"/>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de-DE"/>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2984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1094">
          <p15:clr>
            <a:srgbClr val="FBAE40"/>
          </p15:clr>
        </p15:guide>
        <p15:guide id="4" orient="horz" pos="4085">
          <p15:clr>
            <a:srgbClr val="FBAE40"/>
          </p15:clr>
        </p15:guide>
        <p15:guide id="5" pos="619">
          <p15:clr>
            <a:srgbClr val="FBAE40"/>
          </p15:clr>
        </p15:guide>
        <p15:guide id="6" pos="742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dirty="0"/>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67D9247B-7051-4DBD-8540-3BFDAC611952}" type="datetime1">
              <a:rPr lang="en-US" smtClean="0"/>
              <a:t>11/28/2020</a:t>
            </a:fld>
            <a:endParaRPr lang="en-US" dirty="0"/>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Bayer 16:9 Template /// September 2018</a:t>
            </a:r>
            <a:endParaRPr lang="en-US" dirty="0"/>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nº›</a:t>
            </a:fld>
            <a:endParaRPr lang="en-US" dirty="0"/>
          </a:p>
        </p:txBody>
      </p:sp>
      <p:sp>
        <p:nvSpPr>
          <p:cNvPr id="7" name="empower - DO NOT DELETE!!!" hidden="1"/>
          <p:cNvSpPr/>
          <p:nvPr userDrawn="1">
            <p:custDataLst>
              <p:tags r:id="rId19"/>
            </p:custDataLst>
          </p:nvPr>
        </p:nvSpPr>
        <p:spPr bwMode="gray">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
        <p:nvSpPr>
          <p:cNvPr id="8" name="MSIPCMContentMarking" descr="{&quot;HashCode&quot;:-242339457,&quot;Placement&quot;:&quot;Footer&quot;}">
            <a:extLst>
              <a:ext uri="{FF2B5EF4-FFF2-40B4-BE49-F238E27FC236}">
                <a16:creationId xmlns:a16="http://schemas.microsoft.com/office/drawing/2014/main" id="{50815558-93FB-49D4-B97C-577DF773344E}"/>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rtl="0" eaLnBrk="1" fontAlgn="auto" hangingPunct="1">
              <a:lnSpc>
                <a:spcPct val="100000"/>
              </a:lnSpc>
              <a:spcBef>
                <a:spcPts val="0"/>
              </a:spcBef>
              <a:spcAft>
                <a:spcPts val="0"/>
              </a:spcAft>
            </a:pPr>
            <a:r>
              <a:rPr lang="pt-BR" sz="2200" b="0" i="0" u="none" baseline="0">
                <a:solidFill>
                  <a:srgbClr val="FF8939"/>
                </a:solidFill>
                <a:latin typeface="Calibri" panose="020F0502020204030204" pitchFamily="34" charset="0"/>
              </a:rPr>
              <a:t>RESTRICTED</a:t>
            </a:r>
            <a:endParaRPr lang="pt-BR" sz="2200" b="0" i="0" u="none" baseline="0" dirty="0">
              <a:solidFill>
                <a:srgbClr val="FF8939"/>
              </a:solidFill>
              <a:latin typeface="Calibri" panose="020F0502020204030204" pitchFamily="34" charset="0"/>
            </a:endParaRPr>
          </a:p>
        </p:txBody>
      </p:sp>
    </p:spTree>
    <p:extLst>
      <p:ext uri="{BB962C8B-B14F-4D97-AF65-F5344CB8AC3E}">
        <p14:creationId xmlns:p14="http://schemas.microsoft.com/office/powerpoint/2010/main" val="381456129"/>
      </p:ext>
    </p:extLst>
  </p:cSld>
  <p:clrMap bg1="lt1" tx1="dk1" bg2="lt2" tx2="dk2" accent1="accent1" accent2="accent2" accent3="accent3" accent4="accent4" accent5="accent5" accent6="accent6" hlink="hlink" folHlink="folHlink"/>
  <p:sldLayoutIdLst>
    <p:sldLayoutId id="2147484356" r:id="rId1"/>
    <p:sldLayoutId id="2147484357" r:id="rId2"/>
    <p:sldLayoutId id="2147484358" r:id="rId3"/>
    <p:sldLayoutId id="2147484359" r:id="rId4"/>
    <p:sldLayoutId id="2147484360" r:id="rId5"/>
    <p:sldLayoutId id="2147484361" r:id="rId6"/>
    <p:sldLayoutId id="2147484362" r:id="rId7"/>
    <p:sldLayoutId id="2147484363" r:id="rId8"/>
    <p:sldLayoutId id="2147484364" r:id="rId9"/>
    <p:sldLayoutId id="2147484365" r:id="rId10"/>
    <p:sldLayoutId id="2147484366" r:id="rId11"/>
    <p:sldLayoutId id="2147484367" r:id="rId12"/>
    <p:sldLayoutId id="2147484368" r:id="rId13"/>
    <p:sldLayoutId id="2147484369" r:id="rId14"/>
    <p:sldLayoutId id="2147484370" r:id="rId15"/>
    <p:sldLayoutId id="2147484371" r:id="rId16"/>
    <p:sldLayoutId id="214748437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0"/>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21"/>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22"/>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23"/>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7.xml"/><Relationship Id="rId5" Type="http://schemas.openxmlformats.org/officeDocument/2006/relationships/image" Target="../media/image10.jpg"/><Relationship Id="rId4" Type="http://schemas.openxmlformats.org/officeDocument/2006/relationships/image" Target="../media/image9.jpg"/></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0.png"/><Relationship Id="rId7" Type="http://schemas.openxmlformats.org/officeDocument/2006/relationships/image" Target="../media/image32.sv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31.png"/><Relationship Id="rId5" Type="http://schemas.openxmlformats.org/officeDocument/2006/relationships/image" Target="../media/image29.png"/><Relationship Id="rId4" Type="http://schemas.microsoft.com/office/2007/relationships/hdphoto" Target="../media/hdphoto1.wdp"/><Relationship Id="rId9" Type="http://schemas.openxmlformats.org/officeDocument/2006/relationships/image" Target="../media/image34.svg"/></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32.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36.jp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7.jpeg"/><Relationship Id="rId7"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11.xml"/><Relationship Id="rId6" Type="http://schemas.openxmlformats.org/officeDocument/2006/relationships/image" Target="../media/image39.png"/><Relationship Id="rId5" Type="http://schemas.openxmlformats.org/officeDocument/2006/relationships/image" Target="../media/image38.png"/><Relationship Id="rId10" Type="http://schemas.openxmlformats.org/officeDocument/2006/relationships/chart" Target="../charts/chart1.xml"/><Relationship Id="rId4" Type="http://schemas.microsoft.com/office/2007/relationships/hdphoto" Target="../media/hdphoto2.wdp"/><Relationship Id="rId9" Type="http://schemas.openxmlformats.org/officeDocument/2006/relationships/image" Target="../media/image42.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8.xml"/><Relationship Id="rId1" Type="http://schemas.openxmlformats.org/officeDocument/2006/relationships/tags" Target="../tags/tag17.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3.png"/><Relationship Id="rId7"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4.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ubtitle 12"/>
          <p:cNvSpPr>
            <a:spLocks noGrp="1"/>
          </p:cNvSpPr>
          <p:nvPr>
            <p:ph type="subTitle" idx="1"/>
          </p:nvPr>
        </p:nvSpPr>
        <p:spPr/>
        <p:txBody>
          <a:bodyPr/>
          <a:lstStyle/>
          <a:p>
            <a:r>
              <a:rPr lang="en-US" dirty="0"/>
              <a:t>Subhead</a:t>
            </a:r>
          </a:p>
        </p:txBody>
      </p:sp>
      <p:sp>
        <p:nvSpPr>
          <p:cNvPr id="3" name="Footer Placeholder 2"/>
          <p:cNvSpPr>
            <a:spLocks noGrp="1"/>
          </p:cNvSpPr>
          <p:nvPr>
            <p:ph type="ftr" sz="quarter" idx="11"/>
          </p:nvPr>
        </p:nvSpPr>
        <p:spPr/>
        <p:txBody>
          <a:bodyPr/>
          <a:lstStyle/>
          <a:p>
            <a:r>
              <a:rPr lang="en-US"/>
              <a:t>/// Bayer 16:9 Template /// September 2018</a:t>
            </a:r>
            <a:endParaRPr lang="en-US" dirty="0"/>
          </a:p>
        </p:txBody>
      </p:sp>
      <p:sp>
        <p:nvSpPr>
          <p:cNvPr id="4" name="Slide Number Placeholder 3"/>
          <p:cNvSpPr>
            <a:spLocks noGrp="1"/>
          </p:cNvSpPr>
          <p:nvPr>
            <p:ph type="sldNum" sz="quarter" idx="12"/>
          </p:nvPr>
        </p:nvSpPr>
        <p:spPr/>
        <p:txBody>
          <a:bodyPr/>
          <a:lstStyle/>
          <a:p>
            <a:fld id="{EEAD9179-7A6B-4268-BEB2-F3B8EB06115B}" type="slidenum">
              <a:rPr lang="en-US" smtClean="0"/>
              <a:pPr/>
              <a:t>1</a:t>
            </a:fld>
            <a:endParaRPr lang="en-US" dirty="0"/>
          </a:p>
        </p:txBody>
      </p:sp>
      <p:sp>
        <p:nvSpPr>
          <p:cNvPr id="2" name="Title 1"/>
          <p:cNvSpPr>
            <a:spLocks noGrp="1"/>
          </p:cNvSpPr>
          <p:nvPr>
            <p:ph type="ctrTitle"/>
          </p:nvPr>
        </p:nvSpPr>
        <p:spPr/>
        <p:txBody>
          <a:bodyPr/>
          <a:lstStyle/>
          <a:p>
            <a:r>
              <a:rPr lang="en-US" dirty="0"/>
              <a:t>Headline</a:t>
            </a:r>
          </a:p>
        </p:txBody>
      </p:sp>
      <p:sp>
        <p:nvSpPr>
          <p:cNvPr id="10" name="Text Placeholder 9"/>
          <p:cNvSpPr>
            <a:spLocks noGrp="1"/>
          </p:cNvSpPr>
          <p:nvPr>
            <p:ph type="body" sz="quarter" idx="13"/>
          </p:nvPr>
        </p:nvSpPr>
        <p:spPr/>
        <p:txBody>
          <a:bodyPr/>
          <a:lstStyle/>
          <a:p>
            <a:r>
              <a:rPr lang="en-US" dirty="0"/>
              <a:t>Welcome Statement</a:t>
            </a:r>
          </a:p>
          <a:p>
            <a:pPr lvl="1"/>
            <a:r>
              <a:rPr lang="en-US" dirty="0"/>
              <a:t>Date / Presenter / Version</a:t>
            </a:r>
          </a:p>
        </p:txBody>
      </p:sp>
      <p:sp>
        <p:nvSpPr>
          <p:cNvPr id="14" name="Picture Placeholder 13"/>
          <p:cNvSpPr>
            <a:spLocks noGrp="1"/>
          </p:cNvSpPr>
          <p:nvPr>
            <p:ph type="pic" sz="quarter" idx="14"/>
          </p:nvPr>
        </p:nvSpPr>
        <p:spPr/>
      </p:sp>
      <p:sp>
        <p:nvSpPr>
          <p:cNvPr id="15" name="Parallelogram 32"/>
          <p:cNvSpPr/>
          <p:nvPr/>
        </p:nvSpPr>
        <p:spPr bwMode="gray">
          <a:xfrm>
            <a:off x="4086231" y="-724"/>
            <a:ext cx="4032000" cy="6858724"/>
          </a:xfrm>
          <a:prstGeom prst="parallelogram">
            <a:avLst>
              <a:gd name="adj" fmla="val 32935"/>
            </a:avLst>
          </a:prstGeom>
          <a:blipFill>
            <a:blip r:embed="rId3"/>
            <a:srcRect/>
            <a:stretch>
              <a:fillRect l="-6703" r="-670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Parallelogram 37"/>
          <p:cNvSpPr/>
          <p:nvPr/>
        </p:nvSpPr>
        <p:spPr bwMode="gray">
          <a:xfrm>
            <a:off x="6787822" y="-724"/>
            <a:ext cx="4032000" cy="6858724"/>
          </a:xfrm>
          <a:custGeom>
            <a:avLst/>
            <a:gdLst/>
            <a:ahLst/>
            <a:cxnLst/>
            <a:rect l="l" t="t" r="r" b="b"/>
            <a:pathLst>
              <a:path w="4032000" h="6858724">
                <a:moveTo>
                  <a:pt x="1327939" y="0"/>
                </a:moveTo>
                <a:lnTo>
                  <a:pt x="4032000" y="0"/>
                </a:lnTo>
                <a:lnTo>
                  <a:pt x="2780422" y="6464325"/>
                </a:lnTo>
                <a:lnTo>
                  <a:pt x="517853" y="6858724"/>
                </a:lnTo>
                <a:lnTo>
                  <a:pt x="0" y="6858724"/>
                </a:lnTo>
                <a:close/>
              </a:path>
            </a:pathLst>
          </a:custGeom>
          <a:blipFill>
            <a:blip r:embed="rId4"/>
            <a:srcRect/>
            <a:stretch>
              <a:fillRect l="-105929" r="-4923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arallelogram 38"/>
          <p:cNvSpPr/>
          <p:nvPr/>
        </p:nvSpPr>
        <p:spPr bwMode="gray">
          <a:xfrm>
            <a:off x="9565690" y="0"/>
            <a:ext cx="2627107" cy="6464770"/>
          </a:xfrm>
          <a:custGeom>
            <a:avLst/>
            <a:gdLst/>
            <a:ahLst/>
            <a:cxnLst/>
            <a:rect l="l" t="t" r="r" b="b"/>
            <a:pathLst>
              <a:path w="2627107" h="6464770">
                <a:moveTo>
                  <a:pt x="1251664" y="0"/>
                </a:moveTo>
                <a:lnTo>
                  <a:pt x="2627107" y="0"/>
                </a:lnTo>
                <a:lnTo>
                  <a:pt x="2627107" y="6007241"/>
                </a:lnTo>
                <a:lnTo>
                  <a:pt x="2624724" y="6007241"/>
                </a:lnTo>
                <a:lnTo>
                  <a:pt x="2624723" y="6007241"/>
                </a:lnTo>
                <a:lnTo>
                  <a:pt x="0" y="6464770"/>
                </a:lnTo>
                <a:close/>
              </a:path>
            </a:pathLst>
          </a:custGeom>
          <a:blipFill>
            <a:blip r:embed="rId5"/>
            <a:srcRect/>
            <a:stretch>
              <a:fillRect l="-22293" r="-2229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 name="Straight Connector 6"/>
          <p:cNvCxnSpPr/>
          <p:nvPr/>
        </p:nvCxnSpPr>
        <p:spPr bwMode="gray">
          <a:xfrm flipH="1">
            <a:off x="6787822" y="-724"/>
            <a:ext cx="1330409" cy="6858724"/>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flipH="1">
            <a:off x="4086231" y="-724"/>
            <a:ext cx="1330409" cy="6858724"/>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bwMode="gray">
          <a:xfrm flipH="1">
            <a:off x="9566722" y="-724"/>
            <a:ext cx="1253994" cy="646477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480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18000">
              <a:srgbClr val="00A5E2"/>
            </a:gs>
            <a:gs pos="100000">
              <a:srgbClr val="00A5E2"/>
            </a:gs>
          </a:gsLst>
          <a:lin ang="6120000" scaled="1"/>
        </a:gradFill>
        <a:effectLst/>
      </p:bgPr>
    </p:bg>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dirty="0" err="1"/>
              <a:t>Logistica</a:t>
            </a:r>
            <a:r>
              <a:rPr lang="en-US" dirty="0"/>
              <a:t> - </a:t>
            </a:r>
            <a:r>
              <a:rPr lang="en-US" dirty="0" err="1"/>
              <a:t>RoundUp</a:t>
            </a:r>
            <a:endParaRPr lang="en-US" dirty="0"/>
          </a:p>
        </p:txBody>
      </p:sp>
      <p:sp>
        <p:nvSpPr>
          <p:cNvPr id="2" name="Title 1"/>
          <p:cNvSpPr>
            <a:spLocks noGrp="1"/>
          </p:cNvSpPr>
          <p:nvPr>
            <p:ph type="title"/>
          </p:nvPr>
        </p:nvSpPr>
        <p:spPr/>
        <p:txBody>
          <a:bodyPr/>
          <a:lstStyle/>
          <a:p>
            <a:r>
              <a:rPr lang="en-US" b="1" dirty="0"/>
              <a:t>Distribution CP</a:t>
            </a:r>
          </a:p>
        </p:txBody>
      </p:sp>
      <p:sp>
        <p:nvSpPr>
          <p:cNvPr id="3" name="Text Placeholder 2"/>
          <p:cNvSpPr>
            <a:spLocks noGrp="1"/>
          </p:cNvSpPr>
          <p:nvPr>
            <p:ph sz="quarter" idx="14"/>
          </p:nvPr>
        </p:nvSpPr>
        <p:spPr>
          <a:xfrm>
            <a:off x="981820" y="1732751"/>
            <a:ext cx="10798461" cy="2275115"/>
          </a:xfrm>
        </p:spPr>
        <p:txBody>
          <a:bodyPr/>
          <a:lstStyle/>
          <a:p>
            <a:pPr lvl="1" indent="0">
              <a:buNone/>
            </a:pPr>
            <a:r>
              <a:rPr lang="en-US" dirty="0" err="1"/>
              <a:t>Cadastro</a:t>
            </a:r>
            <a:r>
              <a:rPr lang="en-US" dirty="0"/>
              <a:t> de </a:t>
            </a:r>
            <a:r>
              <a:rPr lang="en-US" dirty="0" err="1"/>
              <a:t>Rotas</a:t>
            </a:r>
            <a:endParaRPr lang="en-US" dirty="0"/>
          </a:p>
          <a:p>
            <a:pPr marL="555750" lvl="1" indent="-285750">
              <a:buFont typeface="Arial" panose="020B0604020202020204" pitchFamily="34" charset="0"/>
              <a:buChar char="•"/>
            </a:pPr>
            <a:r>
              <a:rPr lang="en-US" dirty="0" err="1"/>
              <a:t>Cadastrar</a:t>
            </a:r>
            <a:r>
              <a:rPr lang="en-US" dirty="0"/>
              <a:t> as </a:t>
            </a:r>
            <a:r>
              <a:rPr lang="en-US" dirty="0" err="1"/>
              <a:t>rotas</a:t>
            </a:r>
            <a:r>
              <a:rPr lang="en-US" dirty="0"/>
              <a:t> </a:t>
            </a:r>
            <a:r>
              <a:rPr lang="en-US" dirty="0" err="1"/>
              <a:t>realizadas</a:t>
            </a:r>
            <a:r>
              <a:rPr lang="en-US" dirty="0"/>
              <a:t> com </a:t>
            </a:r>
            <a:r>
              <a:rPr lang="en-US" dirty="0" err="1"/>
              <a:t>produtos</a:t>
            </a:r>
            <a:r>
              <a:rPr lang="en-US" dirty="0"/>
              <a:t> </a:t>
            </a:r>
            <a:r>
              <a:rPr lang="en-US" dirty="0" err="1"/>
              <a:t>classificados</a:t>
            </a:r>
            <a:r>
              <a:rPr lang="en-US" dirty="0"/>
              <a:t> </a:t>
            </a:r>
            <a:r>
              <a:rPr lang="en-US" dirty="0" err="1"/>
              <a:t>como</a:t>
            </a:r>
            <a:r>
              <a:rPr lang="en-US" dirty="0"/>
              <a:t> </a:t>
            </a:r>
            <a:r>
              <a:rPr lang="en-US" dirty="0" err="1"/>
              <a:t>perigosos</a:t>
            </a:r>
            <a:r>
              <a:rPr lang="en-US" dirty="0"/>
              <a:t> no Sistema do DNIT</a:t>
            </a:r>
          </a:p>
          <a:p>
            <a:pPr marL="555750" lvl="1" indent="-285750">
              <a:buFont typeface="Arial" panose="020B0604020202020204" pitchFamily="34" charset="0"/>
              <a:buChar char="•"/>
            </a:pPr>
            <a:endParaRPr lang="en-US" dirty="0"/>
          </a:p>
          <a:p>
            <a:pPr lvl="1" indent="0">
              <a:buNone/>
            </a:pPr>
            <a:r>
              <a:rPr lang="en-US" dirty="0" err="1"/>
              <a:t>Automação</a:t>
            </a:r>
            <a:r>
              <a:rPr lang="en-US" dirty="0"/>
              <a:t> do </a:t>
            </a:r>
            <a:r>
              <a:rPr lang="en-US" dirty="0" err="1"/>
              <a:t>Tratamento</a:t>
            </a:r>
            <a:r>
              <a:rPr lang="en-US" dirty="0"/>
              <a:t> e </a:t>
            </a:r>
            <a:r>
              <a:rPr lang="en-US" dirty="0" err="1"/>
              <a:t>Cadastro</a:t>
            </a:r>
            <a:endParaRPr lang="en-US" dirty="0"/>
          </a:p>
          <a:p>
            <a:pPr marL="555750" lvl="1" indent="-285750">
              <a:buFontTx/>
              <a:buChar char="-"/>
            </a:pPr>
            <a:endParaRPr lang="en-US" dirty="0"/>
          </a:p>
          <a:p>
            <a:pPr marL="555750" lvl="1" indent="-285750">
              <a:buFontTx/>
              <a:buChar char="-"/>
            </a:pPr>
            <a:endParaRPr lang="en-US" dirty="0"/>
          </a:p>
        </p:txBody>
      </p:sp>
      <p:sp>
        <p:nvSpPr>
          <p:cNvPr id="13" name="Fußzeilenplatzhalter 12"/>
          <p:cNvSpPr>
            <a:spLocks noGrp="1"/>
          </p:cNvSpPr>
          <p:nvPr>
            <p:ph type="ftr" sz="quarter" idx="11"/>
          </p:nvPr>
        </p:nvSpPr>
        <p:spPr/>
        <p:txBody>
          <a:bodyPr/>
          <a:lstStyle/>
          <a:p>
            <a:r>
              <a:rPr lang="en-US"/>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10</a:t>
            </a:fld>
            <a:endParaRPr lang="en-US" dirty="0"/>
          </a:p>
        </p:txBody>
      </p:sp>
      <p:pic>
        <p:nvPicPr>
          <p:cNvPr id="38" name="Imagem 37" descr="Ícone&#10;&#10;Descrição gerada automaticamente">
            <a:extLst>
              <a:ext uri="{FF2B5EF4-FFF2-40B4-BE49-F238E27FC236}">
                <a16:creationId xmlns:a16="http://schemas.microsoft.com/office/drawing/2014/main" id="{BF76312A-FC46-48EE-879E-12290B3B010A}"/>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9778" b="89778" l="4889" r="91556">
                        <a14:foregroundMark x1="91556" y1="65333" x2="91556" y2="60444"/>
                        <a14:foregroundMark x1="5333" y1="34667" x2="4889" y2="30222"/>
                        <a14:foregroundMark x1="26222" y1="80444" x2="25333" y2="70667"/>
                        <a14:foregroundMark x1="39556" y1="67556" x2="40889" y2="58222"/>
                        <a14:foregroundMark x1="56889" y1="69778" x2="56000" y2="60889"/>
                      </a14:backgroundRemoval>
                    </a14:imgEffect>
                  </a14:imgLayer>
                </a14:imgProps>
              </a:ext>
            </a:extLst>
          </a:blip>
          <a:stretch>
            <a:fillRect/>
          </a:stretch>
        </p:blipFill>
        <p:spPr>
          <a:xfrm>
            <a:off x="3398281" y="4640215"/>
            <a:ext cx="749125" cy="749125"/>
          </a:xfrm>
          <a:prstGeom prst="rect">
            <a:avLst/>
          </a:prstGeom>
        </p:spPr>
      </p:pic>
      <p:pic>
        <p:nvPicPr>
          <p:cNvPr id="5" name="Imagem 4">
            <a:extLst>
              <a:ext uri="{FF2B5EF4-FFF2-40B4-BE49-F238E27FC236}">
                <a16:creationId xmlns:a16="http://schemas.microsoft.com/office/drawing/2014/main" id="{ED89D289-EAEC-4848-A14D-292F2E4D2AF1}"/>
              </a:ext>
            </a:extLst>
          </p:cNvPr>
          <p:cNvPicPr>
            <a:picLocks noChangeAspect="1"/>
          </p:cNvPicPr>
          <p:nvPr/>
        </p:nvPicPr>
        <p:blipFill>
          <a:blip r:embed="rId5"/>
          <a:stretch>
            <a:fillRect/>
          </a:stretch>
        </p:blipFill>
        <p:spPr>
          <a:xfrm>
            <a:off x="2636526" y="4693765"/>
            <a:ext cx="572454" cy="572454"/>
          </a:xfrm>
          <a:prstGeom prst="rect">
            <a:avLst/>
          </a:prstGeom>
        </p:spPr>
      </p:pic>
      <p:sp>
        <p:nvSpPr>
          <p:cNvPr id="9" name="CaixaDeTexto 8">
            <a:extLst>
              <a:ext uri="{FF2B5EF4-FFF2-40B4-BE49-F238E27FC236}">
                <a16:creationId xmlns:a16="http://schemas.microsoft.com/office/drawing/2014/main" id="{D9EA56FC-79D6-439C-B30E-2559D22BB66B}"/>
              </a:ext>
            </a:extLst>
          </p:cNvPr>
          <p:cNvSpPr txBox="1"/>
          <p:nvPr/>
        </p:nvSpPr>
        <p:spPr bwMode="gray">
          <a:xfrm>
            <a:off x="2546798" y="5512462"/>
            <a:ext cx="1702966" cy="653922"/>
          </a:xfrm>
          <a:prstGeom prst="rect">
            <a:avLst/>
          </a:prstGeom>
          <a:noFill/>
        </p:spPr>
        <p:txBody>
          <a:bodyPr vert="horz" wrap="square" lIns="0" tIns="0" rIns="0" bIns="0" rtlCol="0">
            <a:noAutofit/>
          </a:bodyPr>
          <a:lstStyle/>
          <a:p>
            <a:pPr algn="ctr" rtl="0" eaLnBrk="1" fontAlgn="auto" hangingPunct="1">
              <a:lnSpc>
                <a:spcPct val="100000"/>
              </a:lnSpc>
              <a:spcBef>
                <a:spcPts val="0"/>
              </a:spcBef>
              <a:spcAft>
                <a:spcPts val="0"/>
              </a:spcAft>
            </a:pPr>
            <a:r>
              <a:rPr lang="pt-BR" sz="1800" b="0" i="0" u="none" baseline="0" dirty="0">
                <a:solidFill>
                  <a:srgbClr val="000000"/>
                </a:solidFill>
                <a:latin typeface="Arial" panose="020B0604020202020204" pitchFamily="34" charset="0"/>
              </a:rPr>
              <a:t>Tratamento dos dados</a:t>
            </a:r>
          </a:p>
        </p:txBody>
      </p:sp>
      <p:sp>
        <p:nvSpPr>
          <p:cNvPr id="10" name="CaixaDeTexto 9">
            <a:extLst>
              <a:ext uri="{FF2B5EF4-FFF2-40B4-BE49-F238E27FC236}">
                <a16:creationId xmlns:a16="http://schemas.microsoft.com/office/drawing/2014/main" id="{C4B56050-2C99-4FC2-8E58-406EFD94FD94}"/>
              </a:ext>
            </a:extLst>
          </p:cNvPr>
          <p:cNvSpPr txBox="1"/>
          <p:nvPr/>
        </p:nvSpPr>
        <p:spPr bwMode="gray">
          <a:xfrm>
            <a:off x="267110" y="4791129"/>
            <a:ext cx="1568741" cy="344361"/>
          </a:xfrm>
          <a:prstGeom prst="rect">
            <a:avLst/>
          </a:prstGeom>
          <a:noFill/>
        </p:spPr>
        <p:txBody>
          <a:bodyPr vert="horz" wrap="none" lIns="0" tIns="0" rIns="0" bIns="0" rtlCol="0">
            <a:noAutofit/>
          </a:bodyPr>
          <a:lstStyle/>
          <a:p>
            <a:pPr algn="l" rtl="0" eaLnBrk="1" fontAlgn="auto" hangingPunct="1">
              <a:lnSpc>
                <a:spcPct val="100000"/>
              </a:lnSpc>
              <a:spcBef>
                <a:spcPts val="0"/>
              </a:spcBef>
              <a:spcAft>
                <a:spcPts val="0"/>
              </a:spcAft>
            </a:pPr>
            <a:r>
              <a:rPr lang="pt-BR" sz="1800" b="0" i="0" u="none" baseline="0" dirty="0">
                <a:solidFill>
                  <a:srgbClr val="000000"/>
                </a:solidFill>
                <a:latin typeface="Arial" panose="020B0604020202020204" pitchFamily="34" charset="0"/>
              </a:rPr>
              <a:t>Sistema TMS</a:t>
            </a:r>
          </a:p>
        </p:txBody>
      </p:sp>
      <p:grpSp>
        <p:nvGrpSpPr>
          <p:cNvPr id="29" name="Agrupar 28">
            <a:extLst>
              <a:ext uri="{FF2B5EF4-FFF2-40B4-BE49-F238E27FC236}">
                <a16:creationId xmlns:a16="http://schemas.microsoft.com/office/drawing/2014/main" id="{6B3EA2F7-ACA2-4B44-9520-AC25E13598C9}"/>
              </a:ext>
            </a:extLst>
          </p:cNvPr>
          <p:cNvGrpSpPr/>
          <p:nvPr/>
        </p:nvGrpSpPr>
        <p:grpSpPr>
          <a:xfrm>
            <a:off x="6236213" y="4709973"/>
            <a:ext cx="1036645" cy="749126"/>
            <a:chOff x="4544500" y="4521794"/>
            <a:chExt cx="1550706" cy="1232938"/>
          </a:xfrm>
        </p:grpSpPr>
        <p:pic>
          <p:nvPicPr>
            <p:cNvPr id="26" name="Gráfico 25" descr="Papel">
              <a:extLst>
                <a:ext uri="{FF2B5EF4-FFF2-40B4-BE49-F238E27FC236}">
                  <a16:creationId xmlns:a16="http://schemas.microsoft.com/office/drawing/2014/main" id="{06678BB6-0A40-4F44-8C91-FA40107430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76006" y="4521794"/>
              <a:ext cx="914400" cy="914400"/>
            </a:xfrm>
            <a:prstGeom prst="rect">
              <a:avLst/>
            </a:prstGeom>
          </p:spPr>
        </p:pic>
        <p:pic>
          <p:nvPicPr>
            <p:cNvPr id="70" name="Gráfico 69" descr="Papel">
              <a:extLst>
                <a:ext uri="{FF2B5EF4-FFF2-40B4-BE49-F238E27FC236}">
                  <a16:creationId xmlns:a16="http://schemas.microsoft.com/office/drawing/2014/main" id="{6131043E-0FC2-4253-8C08-2D0EB40B92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44500" y="4840332"/>
              <a:ext cx="914400" cy="914400"/>
            </a:xfrm>
            <a:prstGeom prst="rect">
              <a:avLst/>
            </a:prstGeom>
          </p:spPr>
        </p:pic>
        <p:pic>
          <p:nvPicPr>
            <p:cNvPr id="71" name="Gráfico 70" descr="Papel">
              <a:extLst>
                <a:ext uri="{FF2B5EF4-FFF2-40B4-BE49-F238E27FC236}">
                  <a16:creationId xmlns:a16="http://schemas.microsoft.com/office/drawing/2014/main" id="{40A69AA5-B7C2-4068-8E4F-646B665948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80806" y="4840332"/>
              <a:ext cx="914400" cy="914400"/>
            </a:xfrm>
            <a:prstGeom prst="rect">
              <a:avLst/>
            </a:prstGeom>
          </p:spPr>
        </p:pic>
      </p:grpSp>
      <p:pic>
        <p:nvPicPr>
          <p:cNvPr id="72" name="Imagem 71">
            <a:extLst>
              <a:ext uri="{FF2B5EF4-FFF2-40B4-BE49-F238E27FC236}">
                <a16:creationId xmlns:a16="http://schemas.microsoft.com/office/drawing/2014/main" id="{D55BB598-BE9E-41D0-B2DF-035C19CF8091}"/>
              </a:ext>
            </a:extLst>
          </p:cNvPr>
          <p:cNvPicPr>
            <a:picLocks noChangeAspect="1"/>
          </p:cNvPicPr>
          <p:nvPr/>
        </p:nvPicPr>
        <p:blipFill>
          <a:blip r:embed="rId5"/>
          <a:stretch>
            <a:fillRect/>
          </a:stretch>
        </p:blipFill>
        <p:spPr>
          <a:xfrm>
            <a:off x="9087949" y="4808757"/>
            <a:ext cx="572454" cy="572454"/>
          </a:xfrm>
          <a:prstGeom prst="rect">
            <a:avLst/>
          </a:prstGeom>
        </p:spPr>
      </p:pic>
      <p:pic>
        <p:nvPicPr>
          <p:cNvPr id="28" name="Gráfico 27" descr="Internet">
            <a:extLst>
              <a:ext uri="{FF2B5EF4-FFF2-40B4-BE49-F238E27FC236}">
                <a16:creationId xmlns:a16="http://schemas.microsoft.com/office/drawing/2014/main" id="{5F584E9D-2BA1-4654-9F75-6852E5BCA2A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02328" y="4643897"/>
            <a:ext cx="914400" cy="914400"/>
          </a:xfrm>
          <a:prstGeom prst="rect">
            <a:avLst/>
          </a:prstGeom>
        </p:spPr>
      </p:pic>
      <p:cxnSp>
        <p:nvCxnSpPr>
          <p:cNvPr id="33" name="Conector de Seta Reta 32">
            <a:extLst>
              <a:ext uri="{FF2B5EF4-FFF2-40B4-BE49-F238E27FC236}">
                <a16:creationId xmlns:a16="http://schemas.microsoft.com/office/drawing/2014/main" id="{96B898F3-9117-40C0-AF79-6E950E4271D3}"/>
              </a:ext>
            </a:extLst>
          </p:cNvPr>
          <p:cNvCxnSpPr/>
          <p:nvPr/>
        </p:nvCxnSpPr>
        <p:spPr bwMode="gray">
          <a:xfrm>
            <a:off x="4395431" y="5177174"/>
            <a:ext cx="1476321"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onector de Seta Reta 72">
            <a:extLst>
              <a:ext uri="{FF2B5EF4-FFF2-40B4-BE49-F238E27FC236}">
                <a16:creationId xmlns:a16="http://schemas.microsoft.com/office/drawing/2014/main" id="{C6627A89-5466-46E6-A394-85C45D77A0E2}"/>
              </a:ext>
            </a:extLst>
          </p:cNvPr>
          <p:cNvCxnSpPr/>
          <p:nvPr/>
        </p:nvCxnSpPr>
        <p:spPr bwMode="gray">
          <a:xfrm>
            <a:off x="7353539" y="5177174"/>
            <a:ext cx="1476321"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5" name="CaixaDeTexto 74">
            <a:extLst>
              <a:ext uri="{FF2B5EF4-FFF2-40B4-BE49-F238E27FC236}">
                <a16:creationId xmlns:a16="http://schemas.microsoft.com/office/drawing/2014/main" id="{8FEA00A5-D4FF-46AB-9E46-EAE96CB82414}"/>
              </a:ext>
            </a:extLst>
          </p:cNvPr>
          <p:cNvSpPr txBox="1"/>
          <p:nvPr/>
        </p:nvSpPr>
        <p:spPr bwMode="gray">
          <a:xfrm>
            <a:off x="5911978" y="5510092"/>
            <a:ext cx="1702966" cy="653922"/>
          </a:xfrm>
          <a:prstGeom prst="rect">
            <a:avLst/>
          </a:prstGeom>
          <a:noFill/>
        </p:spPr>
        <p:txBody>
          <a:bodyPr vert="horz" wrap="square" lIns="0" tIns="0" rIns="0" bIns="0" rtlCol="0">
            <a:noAutofit/>
          </a:bodyPr>
          <a:lstStyle/>
          <a:p>
            <a:pPr algn="ctr" rtl="0" eaLnBrk="1" fontAlgn="auto" hangingPunct="1">
              <a:lnSpc>
                <a:spcPct val="100000"/>
              </a:lnSpc>
              <a:spcBef>
                <a:spcPts val="0"/>
              </a:spcBef>
              <a:spcAft>
                <a:spcPts val="0"/>
              </a:spcAft>
            </a:pPr>
            <a:r>
              <a:rPr lang="pt-BR" sz="1800" b="0" i="0" u="none" baseline="0" dirty="0">
                <a:solidFill>
                  <a:srgbClr val="000000"/>
                </a:solidFill>
                <a:latin typeface="Arial" panose="020B0604020202020204" pitchFamily="34" charset="0"/>
              </a:rPr>
              <a:t>Dados preparados</a:t>
            </a:r>
          </a:p>
        </p:txBody>
      </p:sp>
      <p:sp>
        <p:nvSpPr>
          <p:cNvPr id="76" name="CaixaDeTexto 75">
            <a:extLst>
              <a:ext uri="{FF2B5EF4-FFF2-40B4-BE49-F238E27FC236}">
                <a16:creationId xmlns:a16="http://schemas.microsoft.com/office/drawing/2014/main" id="{A57A9A48-BA66-4190-92E7-3E96181CEDA7}"/>
              </a:ext>
            </a:extLst>
          </p:cNvPr>
          <p:cNvSpPr txBox="1"/>
          <p:nvPr/>
        </p:nvSpPr>
        <p:spPr bwMode="gray">
          <a:xfrm>
            <a:off x="8936295" y="5459099"/>
            <a:ext cx="1702966" cy="653922"/>
          </a:xfrm>
          <a:prstGeom prst="rect">
            <a:avLst/>
          </a:prstGeom>
          <a:noFill/>
        </p:spPr>
        <p:txBody>
          <a:bodyPr vert="horz" wrap="square" lIns="0" tIns="0" rIns="0" bIns="0" rtlCol="0">
            <a:noAutofit/>
          </a:bodyPr>
          <a:lstStyle/>
          <a:p>
            <a:pPr algn="ctr" rtl="0" eaLnBrk="1" fontAlgn="auto" hangingPunct="1">
              <a:lnSpc>
                <a:spcPct val="100000"/>
              </a:lnSpc>
              <a:spcBef>
                <a:spcPts val="0"/>
              </a:spcBef>
              <a:spcAft>
                <a:spcPts val="0"/>
              </a:spcAft>
            </a:pPr>
            <a:r>
              <a:rPr lang="pt-BR" sz="1800" b="0" i="0" u="none" baseline="0" dirty="0">
                <a:solidFill>
                  <a:srgbClr val="000000"/>
                </a:solidFill>
                <a:latin typeface="Arial" panose="020B0604020202020204" pitchFamily="34" charset="0"/>
              </a:rPr>
              <a:t>Automação</a:t>
            </a:r>
            <a:endParaRPr lang="pt-BR" dirty="0">
              <a:solidFill>
                <a:srgbClr val="000000"/>
              </a:solidFill>
              <a:latin typeface="Arial" panose="020B0604020202020204" pitchFamily="34" charset="0"/>
            </a:endParaRPr>
          </a:p>
          <a:p>
            <a:pPr algn="ctr" rtl="0" eaLnBrk="1" fontAlgn="auto" hangingPunct="1">
              <a:lnSpc>
                <a:spcPct val="100000"/>
              </a:lnSpc>
              <a:spcBef>
                <a:spcPts val="0"/>
              </a:spcBef>
              <a:spcAft>
                <a:spcPts val="0"/>
              </a:spcAft>
            </a:pPr>
            <a:r>
              <a:rPr lang="pt-BR" sz="1800" b="0" i="0" u="none" baseline="0" dirty="0">
                <a:solidFill>
                  <a:srgbClr val="000000"/>
                </a:solidFill>
                <a:latin typeface="Arial" panose="020B0604020202020204" pitchFamily="34" charset="0"/>
              </a:rPr>
              <a:t>Cadastro</a:t>
            </a:r>
          </a:p>
        </p:txBody>
      </p:sp>
      <p:sp>
        <p:nvSpPr>
          <p:cNvPr id="77" name="CaixaDeTexto 76">
            <a:extLst>
              <a:ext uri="{FF2B5EF4-FFF2-40B4-BE49-F238E27FC236}">
                <a16:creationId xmlns:a16="http://schemas.microsoft.com/office/drawing/2014/main" id="{8BBAA88E-E23B-436B-83DE-1557BF91D2B1}"/>
              </a:ext>
            </a:extLst>
          </p:cNvPr>
          <p:cNvSpPr txBox="1"/>
          <p:nvPr/>
        </p:nvSpPr>
        <p:spPr bwMode="gray">
          <a:xfrm>
            <a:off x="260040" y="5145946"/>
            <a:ext cx="1568741" cy="344361"/>
          </a:xfrm>
          <a:prstGeom prst="rect">
            <a:avLst/>
          </a:prstGeom>
          <a:noFill/>
        </p:spPr>
        <p:txBody>
          <a:bodyPr vert="horz" wrap="none" lIns="0" tIns="0" rIns="0" bIns="0" rtlCol="0">
            <a:noAutofit/>
          </a:bodyPr>
          <a:lstStyle/>
          <a:p>
            <a:pPr algn="l" rtl="0" eaLnBrk="1" fontAlgn="auto" hangingPunct="1">
              <a:lnSpc>
                <a:spcPct val="100000"/>
              </a:lnSpc>
              <a:spcBef>
                <a:spcPts val="0"/>
              </a:spcBef>
              <a:spcAft>
                <a:spcPts val="0"/>
              </a:spcAft>
            </a:pPr>
            <a:r>
              <a:rPr lang="pt-BR" sz="1800" b="0" i="0" u="none" baseline="0" dirty="0">
                <a:solidFill>
                  <a:srgbClr val="000000"/>
                </a:solidFill>
                <a:latin typeface="Arial" panose="020B0604020202020204" pitchFamily="34" charset="0"/>
              </a:rPr>
              <a:t>Dados SAP</a:t>
            </a:r>
          </a:p>
        </p:txBody>
      </p:sp>
      <p:cxnSp>
        <p:nvCxnSpPr>
          <p:cNvPr id="78" name="Conector de Seta Reta 77">
            <a:extLst>
              <a:ext uri="{FF2B5EF4-FFF2-40B4-BE49-F238E27FC236}">
                <a16:creationId xmlns:a16="http://schemas.microsoft.com/office/drawing/2014/main" id="{2FBEAA30-FC2D-4DDC-A6DB-41988FDF0023}"/>
              </a:ext>
            </a:extLst>
          </p:cNvPr>
          <p:cNvCxnSpPr>
            <a:cxnSpLocks/>
          </p:cNvCxnSpPr>
          <p:nvPr/>
        </p:nvCxnSpPr>
        <p:spPr bwMode="gray">
          <a:xfrm>
            <a:off x="1722341" y="5208854"/>
            <a:ext cx="525908"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0110568"/>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18000">
              <a:srgbClr val="00A5E2"/>
            </a:gs>
            <a:gs pos="100000">
              <a:srgbClr val="00A5E2"/>
            </a:gs>
          </a:gsLst>
          <a:lin ang="6120000" scaled="1"/>
        </a:gradFill>
        <a:effectLst/>
      </p:bgPr>
    </p:bg>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endParaRPr lang="en-US" dirty="0"/>
          </a:p>
        </p:txBody>
      </p:sp>
      <p:sp>
        <p:nvSpPr>
          <p:cNvPr id="2" name="Title 1"/>
          <p:cNvSpPr>
            <a:spLocks noGrp="1"/>
          </p:cNvSpPr>
          <p:nvPr>
            <p:ph type="title"/>
          </p:nvPr>
        </p:nvSpPr>
        <p:spPr/>
        <p:txBody>
          <a:bodyPr/>
          <a:lstStyle/>
          <a:p>
            <a:r>
              <a:rPr lang="en-US" dirty="0"/>
              <a:t>Customer Interaction</a:t>
            </a:r>
          </a:p>
        </p:txBody>
      </p:sp>
      <p:sp>
        <p:nvSpPr>
          <p:cNvPr id="3" name="Text Placeholder 2"/>
          <p:cNvSpPr>
            <a:spLocks noGrp="1"/>
          </p:cNvSpPr>
          <p:nvPr>
            <p:ph sz="quarter" idx="14"/>
          </p:nvPr>
        </p:nvSpPr>
        <p:spPr>
          <a:xfrm>
            <a:off x="981820" y="1732751"/>
            <a:ext cx="10798461" cy="1413121"/>
          </a:xfrm>
        </p:spPr>
        <p:txBody>
          <a:bodyPr/>
          <a:lstStyle/>
          <a:p>
            <a:r>
              <a:rPr lang="en-US" dirty="0" err="1"/>
              <a:t>Pesquisa</a:t>
            </a:r>
            <a:r>
              <a:rPr lang="en-US" dirty="0"/>
              <a:t> de </a:t>
            </a:r>
            <a:r>
              <a:rPr lang="en-US" dirty="0" err="1"/>
              <a:t>Satisfação</a:t>
            </a:r>
            <a:endParaRPr lang="en-US" dirty="0"/>
          </a:p>
          <a:p>
            <a:pPr marL="555750" lvl="1" indent="-285750">
              <a:buFont typeface="Arial" panose="020B0604020202020204" pitchFamily="34" charset="0"/>
              <a:buChar char="•"/>
            </a:pPr>
            <a:r>
              <a:rPr lang="en-US" dirty="0" err="1"/>
              <a:t>Automação</a:t>
            </a:r>
            <a:r>
              <a:rPr lang="en-US" dirty="0"/>
              <a:t> para </a:t>
            </a:r>
            <a:r>
              <a:rPr lang="en-US" dirty="0" err="1"/>
              <a:t>enviar</a:t>
            </a:r>
            <a:r>
              <a:rPr lang="en-US" dirty="0"/>
              <a:t> e-mails</a:t>
            </a:r>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p:txBody>
      </p:sp>
      <p:sp>
        <p:nvSpPr>
          <p:cNvPr id="13" name="Fußzeilenplatzhalter 12"/>
          <p:cNvSpPr>
            <a:spLocks noGrp="1"/>
          </p:cNvSpPr>
          <p:nvPr>
            <p:ph type="ftr" sz="quarter" idx="11"/>
          </p:nvPr>
        </p:nvSpPr>
        <p:spPr/>
        <p:txBody>
          <a:bodyPr/>
          <a:lstStyle/>
          <a:p>
            <a:r>
              <a:rPr lang="en-US"/>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11</a:t>
            </a:fld>
            <a:endParaRPr lang="en-US" dirty="0"/>
          </a:p>
        </p:txBody>
      </p:sp>
      <p:pic>
        <p:nvPicPr>
          <p:cNvPr id="8" name="Gráfico 7" descr="Papel">
            <a:extLst>
              <a:ext uri="{FF2B5EF4-FFF2-40B4-BE49-F238E27FC236}">
                <a16:creationId xmlns:a16="http://schemas.microsoft.com/office/drawing/2014/main" id="{126B00D9-FA6B-487A-807B-3886918034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40540" y="4449749"/>
            <a:ext cx="611276" cy="555584"/>
          </a:xfrm>
          <a:prstGeom prst="rect">
            <a:avLst/>
          </a:prstGeom>
        </p:spPr>
      </p:pic>
      <p:sp>
        <p:nvSpPr>
          <p:cNvPr id="11" name="CaixaDeTexto 10">
            <a:extLst>
              <a:ext uri="{FF2B5EF4-FFF2-40B4-BE49-F238E27FC236}">
                <a16:creationId xmlns:a16="http://schemas.microsoft.com/office/drawing/2014/main" id="{65E58909-C64E-451E-BD9F-FB735BC153DB}"/>
              </a:ext>
            </a:extLst>
          </p:cNvPr>
          <p:cNvSpPr txBox="1"/>
          <p:nvPr/>
        </p:nvSpPr>
        <p:spPr bwMode="gray">
          <a:xfrm>
            <a:off x="794695" y="5123488"/>
            <a:ext cx="1702966" cy="586334"/>
          </a:xfrm>
          <a:prstGeom prst="rect">
            <a:avLst/>
          </a:prstGeom>
          <a:noFill/>
        </p:spPr>
        <p:txBody>
          <a:bodyPr vert="horz" wrap="square" lIns="0" tIns="0" rIns="0" bIns="0" rtlCol="0">
            <a:noAutofit/>
          </a:bodyPr>
          <a:lstStyle/>
          <a:p>
            <a:pPr algn="ctr" rtl="0" eaLnBrk="1" fontAlgn="auto" hangingPunct="1">
              <a:lnSpc>
                <a:spcPct val="100000"/>
              </a:lnSpc>
              <a:spcBef>
                <a:spcPts val="0"/>
              </a:spcBef>
              <a:spcAft>
                <a:spcPts val="0"/>
              </a:spcAft>
            </a:pPr>
            <a:r>
              <a:rPr lang="pt-BR" sz="1800" b="0" i="0" u="none" baseline="0" dirty="0">
                <a:solidFill>
                  <a:srgbClr val="000000"/>
                </a:solidFill>
                <a:latin typeface="Arial" panose="020B0604020202020204" pitchFamily="34" charset="0"/>
              </a:rPr>
              <a:t>Planilha</a:t>
            </a:r>
          </a:p>
        </p:txBody>
      </p:sp>
      <p:cxnSp>
        <p:nvCxnSpPr>
          <p:cNvPr id="12" name="Conector de Seta Reta 11">
            <a:extLst>
              <a:ext uri="{FF2B5EF4-FFF2-40B4-BE49-F238E27FC236}">
                <a16:creationId xmlns:a16="http://schemas.microsoft.com/office/drawing/2014/main" id="{02513A24-58EB-4DBA-A7D3-4D7733BD38AF}"/>
              </a:ext>
            </a:extLst>
          </p:cNvPr>
          <p:cNvCxnSpPr/>
          <p:nvPr/>
        </p:nvCxnSpPr>
        <p:spPr bwMode="gray">
          <a:xfrm>
            <a:off x="2289794" y="4757725"/>
            <a:ext cx="1476321"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CaixaDeTexto 14">
            <a:extLst>
              <a:ext uri="{FF2B5EF4-FFF2-40B4-BE49-F238E27FC236}">
                <a16:creationId xmlns:a16="http://schemas.microsoft.com/office/drawing/2014/main" id="{2EDFAA25-CAA1-4485-B4C1-1794172B3312}"/>
              </a:ext>
            </a:extLst>
          </p:cNvPr>
          <p:cNvSpPr txBox="1"/>
          <p:nvPr/>
        </p:nvSpPr>
        <p:spPr bwMode="gray">
          <a:xfrm>
            <a:off x="3939923" y="4604726"/>
            <a:ext cx="1702966" cy="586334"/>
          </a:xfrm>
          <a:prstGeom prst="rect">
            <a:avLst/>
          </a:prstGeom>
          <a:noFill/>
        </p:spPr>
        <p:txBody>
          <a:bodyPr vert="horz" wrap="square" lIns="0" tIns="0" rIns="0" bIns="0" rtlCol="0">
            <a:noAutofit/>
          </a:bodyPr>
          <a:lstStyle/>
          <a:p>
            <a:pPr algn="ctr" rtl="0" eaLnBrk="1" fontAlgn="auto" hangingPunct="1">
              <a:lnSpc>
                <a:spcPct val="100000"/>
              </a:lnSpc>
              <a:spcBef>
                <a:spcPts val="0"/>
              </a:spcBef>
              <a:spcAft>
                <a:spcPts val="0"/>
              </a:spcAft>
            </a:pPr>
            <a:r>
              <a:rPr lang="pt-BR" sz="1800" b="0" i="0" u="none" baseline="0" dirty="0">
                <a:solidFill>
                  <a:srgbClr val="000000"/>
                </a:solidFill>
                <a:latin typeface="Arial" panose="020B0604020202020204" pitchFamily="34" charset="0"/>
              </a:rPr>
              <a:t>Imagem programa</a:t>
            </a:r>
          </a:p>
        </p:txBody>
      </p:sp>
      <p:cxnSp>
        <p:nvCxnSpPr>
          <p:cNvPr id="16" name="Conector de Seta Reta 15">
            <a:extLst>
              <a:ext uri="{FF2B5EF4-FFF2-40B4-BE49-F238E27FC236}">
                <a16:creationId xmlns:a16="http://schemas.microsoft.com/office/drawing/2014/main" id="{6759EBB8-8706-45AA-BE3A-746E1619E1D1}"/>
              </a:ext>
            </a:extLst>
          </p:cNvPr>
          <p:cNvCxnSpPr/>
          <p:nvPr/>
        </p:nvCxnSpPr>
        <p:spPr bwMode="gray">
          <a:xfrm>
            <a:off x="5642889" y="4757725"/>
            <a:ext cx="1476321"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7" name="CaixaDeTexto 16">
            <a:extLst>
              <a:ext uri="{FF2B5EF4-FFF2-40B4-BE49-F238E27FC236}">
                <a16:creationId xmlns:a16="http://schemas.microsoft.com/office/drawing/2014/main" id="{EB025499-0590-46B7-A927-1EE4428A0F22}"/>
              </a:ext>
            </a:extLst>
          </p:cNvPr>
          <p:cNvSpPr txBox="1"/>
          <p:nvPr/>
        </p:nvSpPr>
        <p:spPr bwMode="gray">
          <a:xfrm>
            <a:off x="7345855" y="4537154"/>
            <a:ext cx="1702966" cy="586334"/>
          </a:xfrm>
          <a:prstGeom prst="rect">
            <a:avLst/>
          </a:prstGeom>
          <a:noFill/>
        </p:spPr>
        <p:txBody>
          <a:bodyPr vert="horz" wrap="square" lIns="0" tIns="0" rIns="0" bIns="0" rtlCol="0">
            <a:noAutofit/>
          </a:bodyPr>
          <a:lstStyle/>
          <a:p>
            <a:pPr algn="ctr" rtl="0" eaLnBrk="1" fontAlgn="auto" hangingPunct="1">
              <a:lnSpc>
                <a:spcPct val="100000"/>
              </a:lnSpc>
              <a:spcBef>
                <a:spcPts val="0"/>
              </a:spcBef>
              <a:spcAft>
                <a:spcPts val="0"/>
              </a:spcAft>
            </a:pPr>
            <a:r>
              <a:rPr lang="pt-BR" sz="1800" b="0" i="0" u="none" baseline="0" dirty="0">
                <a:solidFill>
                  <a:srgbClr val="000000"/>
                </a:solidFill>
                <a:latin typeface="Arial" panose="020B0604020202020204" pitchFamily="34" charset="0"/>
              </a:rPr>
              <a:t>Imagem e-mail pronto</a:t>
            </a:r>
          </a:p>
        </p:txBody>
      </p:sp>
    </p:spTree>
    <p:extLst>
      <p:ext uri="{BB962C8B-B14F-4D97-AF65-F5344CB8AC3E}">
        <p14:creationId xmlns:p14="http://schemas.microsoft.com/office/powerpoint/2010/main" val="46182118"/>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18000">
              <a:srgbClr val="00A5E2"/>
            </a:gs>
            <a:gs pos="100000">
              <a:srgbClr val="00A5E2"/>
            </a:gs>
          </a:gsLst>
          <a:lin ang="6120000" scaled="1"/>
        </a:gradFill>
        <a:effectLst/>
      </p:bgPr>
    </p:bg>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dirty="0"/>
              <a:t>SQUAD 5 - </a:t>
            </a:r>
            <a:r>
              <a:rPr lang="en-US" dirty="0" err="1"/>
              <a:t>IntegraAção</a:t>
            </a:r>
            <a:endParaRPr lang="en-US" dirty="0"/>
          </a:p>
        </p:txBody>
      </p:sp>
      <p:sp>
        <p:nvSpPr>
          <p:cNvPr id="2" name="Title 1"/>
          <p:cNvSpPr>
            <a:spLocks noGrp="1"/>
          </p:cNvSpPr>
          <p:nvPr>
            <p:ph type="title"/>
          </p:nvPr>
        </p:nvSpPr>
        <p:spPr/>
        <p:txBody>
          <a:bodyPr/>
          <a:lstStyle/>
          <a:p>
            <a:r>
              <a:rPr lang="en-US" dirty="0"/>
              <a:t>Innovation Seed</a:t>
            </a:r>
          </a:p>
        </p:txBody>
      </p:sp>
      <p:sp>
        <p:nvSpPr>
          <p:cNvPr id="3" name="Text Placeholder 2"/>
          <p:cNvSpPr>
            <a:spLocks noGrp="1"/>
          </p:cNvSpPr>
          <p:nvPr>
            <p:ph sz="quarter" idx="14"/>
          </p:nvPr>
        </p:nvSpPr>
        <p:spPr>
          <a:xfrm>
            <a:off x="981820" y="1732751"/>
            <a:ext cx="10798461" cy="2275115"/>
          </a:xfrm>
        </p:spPr>
        <p:txBody>
          <a:bodyPr/>
          <a:lstStyle/>
          <a:p>
            <a:r>
              <a:rPr lang="en-US" dirty="0"/>
              <a:t>Value Capture</a:t>
            </a:r>
          </a:p>
          <a:p>
            <a:pPr marL="555750" lvl="1" indent="-285750">
              <a:buFontTx/>
              <a:buChar char="-"/>
            </a:pPr>
            <a:r>
              <a:rPr lang="en-US" dirty="0" err="1"/>
              <a:t>Problema</a:t>
            </a:r>
            <a:r>
              <a:rPr lang="en-US" dirty="0"/>
              <a:t> : </a:t>
            </a:r>
            <a:r>
              <a:rPr lang="en-US" dirty="0" err="1"/>
              <a:t>Fluxo</a:t>
            </a:r>
            <a:r>
              <a:rPr lang="en-US" dirty="0"/>
              <a:t> de </a:t>
            </a:r>
            <a:r>
              <a:rPr lang="en-US" dirty="0" err="1"/>
              <a:t>pagamento</a:t>
            </a:r>
            <a:r>
              <a:rPr lang="en-US" dirty="0"/>
              <a:t> </a:t>
            </a:r>
            <a:r>
              <a:rPr lang="en-US" dirty="0" err="1"/>
              <a:t>comprometido</a:t>
            </a:r>
            <a:endParaRPr lang="en-US" dirty="0"/>
          </a:p>
          <a:p>
            <a:pPr marL="825750" lvl="2" indent="-285750">
              <a:buFontTx/>
              <a:buChar char="-"/>
            </a:pPr>
            <a:r>
              <a:rPr lang="en-US" dirty="0" err="1"/>
              <a:t>Proposta</a:t>
            </a:r>
            <a:r>
              <a:rPr lang="en-US" dirty="0"/>
              <a:t>: Video de </a:t>
            </a:r>
            <a:r>
              <a:rPr lang="en-US" dirty="0" err="1"/>
              <a:t>orientação</a:t>
            </a:r>
            <a:r>
              <a:rPr lang="en-US" dirty="0"/>
              <a:t> para o </a:t>
            </a:r>
            <a:r>
              <a:rPr lang="en-US" dirty="0" err="1"/>
              <a:t>parceiro</a:t>
            </a:r>
            <a:r>
              <a:rPr lang="en-US" dirty="0"/>
              <a:t>.</a:t>
            </a:r>
          </a:p>
          <a:p>
            <a:r>
              <a:rPr lang="en-US" dirty="0"/>
              <a:t>Inventory</a:t>
            </a:r>
          </a:p>
          <a:p>
            <a:pPr marL="555750" lvl="1" indent="-285750">
              <a:buFontTx/>
              <a:buChar char="-"/>
            </a:pPr>
            <a:r>
              <a:rPr lang="en-US" dirty="0" err="1"/>
              <a:t>Problema</a:t>
            </a:r>
            <a:r>
              <a:rPr lang="en-US" dirty="0"/>
              <a:t>: </a:t>
            </a:r>
            <a:r>
              <a:rPr lang="en-US" dirty="0" err="1"/>
              <a:t>Visualização</a:t>
            </a:r>
            <a:r>
              <a:rPr lang="en-US" dirty="0"/>
              <a:t> dos dados de </a:t>
            </a:r>
            <a:r>
              <a:rPr lang="en-US" dirty="0" err="1"/>
              <a:t>covertimer</a:t>
            </a:r>
            <a:endParaRPr lang="en-US" dirty="0"/>
          </a:p>
          <a:p>
            <a:pPr marL="825750" lvl="2" indent="-285750">
              <a:buFontTx/>
              <a:buChar char="-"/>
            </a:pPr>
            <a:r>
              <a:rPr lang="en-US" dirty="0" err="1"/>
              <a:t>Proposta</a:t>
            </a:r>
            <a:r>
              <a:rPr lang="en-US" dirty="0"/>
              <a:t>: </a:t>
            </a:r>
            <a:r>
              <a:rPr lang="en-US" dirty="0" err="1"/>
              <a:t>Criar</a:t>
            </a:r>
            <a:r>
              <a:rPr lang="en-US" dirty="0"/>
              <a:t> dashboard no Tableau.</a:t>
            </a:r>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p:txBody>
      </p:sp>
      <p:sp>
        <p:nvSpPr>
          <p:cNvPr id="13" name="Fußzeilenplatzhalter 12"/>
          <p:cNvSpPr>
            <a:spLocks noGrp="1"/>
          </p:cNvSpPr>
          <p:nvPr>
            <p:ph type="ftr" sz="quarter" idx="11"/>
          </p:nvPr>
        </p:nvSpPr>
        <p:spPr/>
        <p:txBody>
          <a:bodyPr/>
          <a:lstStyle/>
          <a:p>
            <a:r>
              <a:rPr lang="en-US"/>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12</a:t>
            </a:fld>
            <a:endParaRPr lang="en-US" dirty="0"/>
          </a:p>
        </p:txBody>
      </p:sp>
    </p:spTree>
    <p:extLst>
      <p:ext uri="{BB962C8B-B14F-4D97-AF65-F5344CB8AC3E}">
        <p14:creationId xmlns:p14="http://schemas.microsoft.com/office/powerpoint/2010/main" val="3587093694"/>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a:extLst>
              <a:ext uri="{FF2B5EF4-FFF2-40B4-BE49-F238E27FC236}">
                <a16:creationId xmlns:a16="http://schemas.microsoft.com/office/drawing/2014/main" id="{ED3C993F-C8DE-4154-A5EC-5B1AE83756DD}"/>
              </a:ext>
            </a:extLst>
          </p:cNvPr>
          <p:cNvSpPr>
            <a:spLocks noGrp="1"/>
          </p:cNvSpPr>
          <p:nvPr>
            <p:ph type="subTitle" idx="13"/>
          </p:nvPr>
        </p:nvSpPr>
        <p:spPr/>
        <p:txBody>
          <a:bodyPr/>
          <a:lstStyle/>
          <a:p>
            <a:endParaRPr lang="pt-BR"/>
          </a:p>
        </p:txBody>
      </p:sp>
      <p:sp>
        <p:nvSpPr>
          <p:cNvPr id="3" name="Título 2">
            <a:extLst>
              <a:ext uri="{FF2B5EF4-FFF2-40B4-BE49-F238E27FC236}">
                <a16:creationId xmlns:a16="http://schemas.microsoft.com/office/drawing/2014/main" id="{60798164-2DC7-4A98-8AD6-0F0064A7B57F}"/>
              </a:ext>
            </a:extLst>
          </p:cNvPr>
          <p:cNvSpPr>
            <a:spLocks noGrp="1"/>
          </p:cNvSpPr>
          <p:nvPr>
            <p:ph type="title"/>
          </p:nvPr>
        </p:nvSpPr>
        <p:spPr/>
        <p:txBody>
          <a:bodyPr/>
          <a:lstStyle/>
          <a:p>
            <a:endParaRPr lang="pt-BR"/>
          </a:p>
        </p:txBody>
      </p:sp>
      <p:sp>
        <p:nvSpPr>
          <p:cNvPr id="4" name="Espaço Reservado para Rodapé 3">
            <a:extLst>
              <a:ext uri="{FF2B5EF4-FFF2-40B4-BE49-F238E27FC236}">
                <a16:creationId xmlns:a16="http://schemas.microsoft.com/office/drawing/2014/main" id="{C4AE0199-1127-446A-BAE5-5D246920018D}"/>
              </a:ext>
            </a:extLst>
          </p:cNvPr>
          <p:cNvSpPr>
            <a:spLocks noGrp="1"/>
          </p:cNvSpPr>
          <p:nvPr>
            <p:ph type="ftr" sz="quarter" idx="11"/>
          </p:nvPr>
        </p:nvSpPr>
        <p:spPr/>
        <p:txBody>
          <a:bodyPr/>
          <a:lstStyle/>
          <a:p>
            <a:r>
              <a:rPr lang="en-US"/>
              <a:t>/// Bayer 16:9 Template /// September 2018</a:t>
            </a:r>
            <a:endParaRPr lang="en-US" dirty="0"/>
          </a:p>
        </p:txBody>
      </p:sp>
      <p:sp>
        <p:nvSpPr>
          <p:cNvPr id="5" name="Espaço Reservado para Número de Slide 4">
            <a:extLst>
              <a:ext uri="{FF2B5EF4-FFF2-40B4-BE49-F238E27FC236}">
                <a16:creationId xmlns:a16="http://schemas.microsoft.com/office/drawing/2014/main" id="{C764CBFB-5FA5-4F6A-81DE-9F0ACE2903FA}"/>
              </a:ext>
            </a:extLst>
          </p:cNvPr>
          <p:cNvSpPr>
            <a:spLocks noGrp="1"/>
          </p:cNvSpPr>
          <p:nvPr>
            <p:ph type="sldNum" sz="quarter" idx="12"/>
          </p:nvPr>
        </p:nvSpPr>
        <p:spPr/>
        <p:txBody>
          <a:bodyPr/>
          <a:lstStyle/>
          <a:p>
            <a:fld id="{EEAD9179-7A6B-4268-BEB2-F3B8EB06115B}" type="slidenum">
              <a:rPr lang="en-US" smtClean="0"/>
              <a:t>13</a:t>
            </a:fld>
            <a:endParaRPr lang="en-US" dirty="0"/>
          </a:p>
        </p:txBody>
      </p:sp>
      <p:sp>
        <p:nvSpPr>
          <p:cNvPr id="6" name="Espaço Reservado para Conteúdo 5">
            <a:extLst>
              <a:ext uri="{FF2B5EF4-FFF2-40B4-BE49-F238E27FC236}">
                <a16:creationId xmlns:a16="http://schemas.microsoft.com/office/drawing/2014/main" id="{3A286E13-3221-412F-ACED-B940A5EFE0B4}"/>
              </a:ext>
            </a:extLst>
          </p:cNvPr>
          <p:cNvSpPr>
            <a:spLocks noGrp="1"/>
          </p:cNvSpPr>
          <p:nvPr>
            <p:ph sz="quarter" idx="14"/>
          </p:nvPr>
        </p:nvSpPr>
        <p:spPr/>
        <p:txBody>
          <a:bodyPr/>
          <a:lstStyle/>
          <a:p>
            <a:endParaRPr lang="pt-BR"/>
          </a:p>
        </p:txBody>
      </p:sp>
    </p:spTree>
    <p:extLst>
      <p:ext uri="{BB962C8B-B14F-4D97-AF65-F5344CB8AC3E}">
        <p14:creationId xmlns:p14="http://schemas.microsoft.com/office/powerpoint/2010/main" val="1416755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Lorem ipsum dolor sit amet</a:t>
            </a:r>
            <a:endParaRPr lang="en-US" dirty="0"/>
          </a:p>
        </p:txBody>
      </p:sp>
      <p:sp>
        <p:nvSpPr>
          <p:cNvPr id="9" name="Subtitle 8"/>
          <p:cNvSpPr>
            <a:spLocks noGrp="1"/>
          </p:cNvSpPr>
          <p:nvPr>
            <p:ph type="subTitle" idx="1"/>
          </p:nvPr>
        </p:nvSpPr>
        <p:spPr/>
        <p:txBody>
          <a:bodyPr/>
          <a:lstStyle/>
          <a:p>
            <a:r>
              <a:rPr lang="en-US" dirty="0" err="1"/>
              <a:t>Desenvolvimento</a:t>
            </a:r>
            <a:r>
              <a:rPr lang="en-US" dirty="0"/>
              <a:t> </a:t>
            </a:r>
            <a:r>
              <a:rPr lang="en-US" dirty="0" err="1"/>
              <a:t>continuado</a:t>
            </a:r>
            <a:endParaRPr lang="en-US" dirty="0"/>
          </a:p>
        </p:txBody>
      </p:sp>
      <p:sp>
        <p:nvSpPr>
          <p:cNvPr id="11" name="Fußzeilenplatzhalter 10"/>
          <p:cNvSpPr>
            <a:spLocks noGrp="1"/>
          </p:cNvSpPr>
          <p:nvPr>
            <p:ph type="ftr" sz="quarter" idx="11"/>
          </p:nvPr>
        </p:nvSpPr>
        <p:spPr/>
        <p:txBody>
          <a:bodyPr/>
          <a:lstStyle/>
          <a:p>
            <a:r>
              <a:rPr lang="en-US"/>
              <a:t>/// Bayer 16:9 Template /// September 2018</a:t>
            </a:r>
            <a:endParaRPr lang="en-US" dirty="0"/>
          </a:p>
        </p:txBody>
      </p:sp>
      <p:sp>
        <p:nvSpPr>
          <p:cNvPr id="12" name="Foliennummernplatzhalter 11"/>
          <p:cNvSpPr>
            <a:spLocks noGrp="1"/>
          </p:cNvSpPr>
          <p:nvPr>
            <p:ph type="sldNum" sz="quarter" idx="12"/>
          </p:nvPr>
        </p:nvSpPr>
        <p:spPr/>
        <p:txBody>
          <a:bodyPr/>
          <a:lstStyle/>
          <a:p>
            <a:fld id="{EEAD9179-7A6B-4268-BEB2-F3B8EB06115B}" type="slidenum">
              <a:rPr lang="en-US" smtClean="0"/>
              <a:pPr/>
              <a:t>14</a:t>
            </a:fld>
            <a:endParaRPr lang="en-US" dirty="0"/>
          </a:p>
        </p:txBody>
      </p:sp>
    </p:spTree>
    <p:extLst>
      <p:ext uri="{BB962C8B-B14F-4D97-AF65-F5344CB8AC3E}">
        <p14:creationId xmlns:p14="http://schemas.microsoft.com/office/powerpoint/2010/main" val="3152317893"/>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dirty="0" err="1"/>
              <a:t>Logistica</a:t>
            </a:r>
            <a:r>
              <a:rPr lang="en-US" dirty="0"/>
              <a:t> - </a:t>
            </a:r>
            <a:r>
              <a:rPr lang="en-US" dirty="0" err="1"/>
              <a:t>RoundUp</a:t>
            </a:r>
            <a:endParaRPr lang="en-US" dirty="0"/>
          </a:p>
        </p:txBody>
      </p:sp>
      <p:sp>
        <p:nvSpPr>
          <p:cNvPr id="2" name="Title 1"/>
          <p:cNvSpPr>
            <a:spLocks noGrp="1"/>
          </p:cNvSpPr>
          <p:nvPr>
            <p:ph type="title"/>
          </p:nvPr>
        </p:nvSpPr>
        <p:spPr/>
        <p:txBody>
          <a:bodyPr/>
          <a:lstStyle/>
          <a:p>
            <a:r>
              <a:rPr lang="en-US" dirty="0"/>
              <a:t>Distribution CP</a:t>
            </a:r>
          </a:p>
        </p:txBody>
      </p:sp>
      <p:sp>
        <p:nvSpPr>
          <p:cNvPr id="3" name="Text Placeholder 2"/>
          <p:cNvSpPr>
            <a:spLocks noGrp="1"/>
          </p:cNvSpPr>
          <p:nvPr>
            <p:ph sz="quarter" idx="14"/>
          </p:nvPr>
        </p:nvSpPr>
        <p:spPr>
          <a:xfrm>
            <a:off x="981820" y="1732751"/>
            <a:ext cx="10798461" cy="4751999"/>
          </a:xfrm>
        </p:spPr>
        <p:txBody>
          <a:bodyPr/>
          <a:lstStyle/>
          <a:p>
            <a:r>
              <a:rPr lang="en-US" dirty="0" err="1"/>
              <a:t>Responsabilidades</a:t>
            </a:r>
            <a:r>
              <a:rPr lang="en-US" dirty="0"/>
              <a:t>:</a:t>
            </a:r>
          </a:p>
          <a:p>
            <a:pPr marL="285750" indent="-285750">
              <a:buFontTx/>
              <a:buChar char="-"/>
            </a:pPr>
            <a:r>
              <a:rPr lang="en-US" dirty="0"/>
              <a:t>Centro </a:t>
            </a:r>
            <a:r>
              <a:rPr lang="en-US" dirty="0" err="1"/>
              <a:t>Logisticos</a:t>
            </a:r>
            <a:r>
              <a:rPr lang="en-US" dirty="0"/>
              <a:t> Sul do Brasil (</a:t>
            </a:r>
            <a:r>
              <a:rPr lang="en-US" dirty="0" err="1"/>
              <a:t>Cachoeirinha</a:t>
            </a:r>
            <a:r>
              <a:rPr lang="en-US" dirty="0"/>
              <a:t> e Londrina)</a:t>
            </a:r>
          </a:p>
          <a:p>
            <a:pPr marL="285750" indent="-285750">
              <a:buFontTx/>
              <a:buChar char="-"/>
            </a:pPr>
            <a:r>
              <a:rPr lang="en-US" dirty="0" err="1"/>
              <a:t>Processo</a:t>
            </a:r>
            <a:r>
              <a:rPr lang="en-US" dirty="0"/>
              <a:t>  </a:t>
            </a:r>
            <a:r>
              <a:rPr lang="en-US" dirty="0" err="1"/>
              <a:t>Vira</a:t>
            </a:r>
            <a:r>
              <a:rPr lang="en-US" dirty="0"/>
              <a:t> ( São José – </a:t>
            </a:r>
            <a:r>
              <a:rPr lang="en-US" dirty="0" err="1"/>
              <a:t>Guararema</a:t>
            </a:r>
            <a:r>
              <a:rPr lang="en-US" dirty="0"/>
              <a:t>)</a:t>
            </a:r>
          </a:p>
        </p:txBody>
      </p:sp>
      <p:sp>
        <p:nvSpPr>
          <p:cNvPr id="13" name="Fußzeilenplatzhalter 12"/>
          <p:cNvSpPr>
            <a:spLocks noGrp="1"/>
          </p:cNvSpPr>
          <p:nvPr>
            <p:ph type="ftr" sz="quarter" idx="11"/>
          </p:nvPr>
        </p:nvSpPr>
        <p:spPr/>
        <p:txBody>
          <a:bodyPr/>
          <a:lstStyle/>
          <a:p>
            <a:r>
              <a:rPr lang="en-US"/>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15</a:t>
            </a:fld>
            <a:endParaRPr lang="en-US" dirty="0"/>
          </a:p>
        </p:txBody>
      </p:sp>
      <p:grpSp>
        <p:nvGrpSpPr>
          <p:cNvPr id="7" name="组合 50">
            <a:extLst>
              <a:ext uri="{FF2B5EF4-FFF2-40B4-BE49-F238E27FC236}">
                <a16:creationId xmlns:a16="http://schemas.microsoft.com/office/drawing/2014/main" id="{446649DD-850A-4A66-8868-A91B7B7BDBCC}"/>
              </a:ext>
            </a:extLst>
          </p:cNvPr>
          <p:cNvGrpSpPr/>
          <p:nvPr/>
        </p:nvGrpSpPr>
        <p:grpSpPr>
          <a:xfrm>
            <a:off x="5911688" y="2482173"/>
            <a:ext cx="6021591" cy="3910418"/>
            <a:chOff x="503937" y="1273175"/>
            <a:chExt cx="8348371" cy="5421429"/>
          </a:xfrm>
        </p:grpSpPr>
        <p:grpSp>
          <p:nvGrpSpPr>
            <p:cNvPr id="8" name="Group 22">
              <a:extLst>
                <a:ext uri="{FF2B5EF4-FFF2-40B4-BE49-F238E27FC236}">
                  <a16:creationId xmlns:a16="http://schemas.microsoft.com/office/drawing/2014/main" id="{AA08AA30-B35E-4A27-B3CC-E3A8049B107E}"/>
                </a:ext>
              </a:extLst>
            </p:cNvPr>
            <p:cNvGrpSpPr>
              <a:grpSpLocks/>
            </p:cNvGrpSpPr>
            <p:nvPr/>
          </p:nvGrpSpPr>
          <p:grpSpPr bwMode="auto">
            <a:xfrm>
              <a:off x="1608287" y="1273175"/>
              <a:ext cx="5041900" cy="5038725"/>
              <a:chOff x="265" y="802"/>
              <a:chExt cx="3176" cy="3174"/>
            </a:xfrm>
          </p:grpSpPr>
          <p:sp>
            <p:nvSpPr>
              <p:cNvPr id="41" name="Freeform 23">
                <a:extLst>
                  <a:ext uri="{FF2B5EF4-FFF2-40B4-BE49-F238E27FC236}">
                    <a16:creationId xmlns:a16="http://schemas.microsoft.com/office/drawing/2014/main" id="{28467F0D-8AAA-461F-9237-A1ECF0BD1A03}"/>
                  </a:ext>
                </a:extLst>
              </p:cNvPr>
              <p:cNvSpPr>
                <a:spLocks/>
              </p:cNvSpPr>
              <p:nvPr/>
            </p:nvSpPr>
            <p:spPr bwMode="auto">
              <a:xfrm>
                <a:off x="848" y="1883"/>
                <a:ext cx="567" cy="471"/>
              </a:xfrm>
              <a:custGeom>
                <a:avLst/>
                <a:gdLst/>
                <a:ahLst/>
                <a:cxnLst>
                  <a:cxn ang="0">
                    <a:pos x="2645" y="2550"/>
                  </a:cxn>
                  <a:cxn ang="0">
                    <a:pos x="2684" y="2454"/>
                  </a:cxn>
                  <a:cxn ang="0">
                    <a:pos x="2779" y="2418"/>
                  </a:cxn>
                  <a:cxn ang="0">
                    <a:pos x="2858" y="2231"/>
                  </a:cxn>
                  <a:cxn ang="0">
                    <a:pos x="2956" y="2159"/>
                  </a:cxn>
                  <a:cxn ang="0">
                    <a:pos x="3027" y="2003"/>
                  </a:cxn>
                  <a:cxn ang="0">
                    <a:pos x="3015" y="1836"/>
                  </a:cxn>
                  <a:cxn ang="0">
                    <a:pos x="2944" y="1716"/>
                  </a:cxn>
                  <a:cxn ang="0">
                    <a:pos x="2921" y="1608"/>
                  </a:cxn>
                  <a:cxn ang="0">
                    <a:pos x="3015" y="1536"/>
                  </a:cxn>
                  <a:cxn ang="0">
                    <a:pos x="2988" y="1417"/>
                  </a:cxn>
                  <a:cxn ang="0">
                    <a:pos x="2858" y="1405"/>
                  </a:cxn>
                  <a:cxn ang="0">
                    <a:pos x="2775" y="1341"/>
                  </a:cxn>
                  <a:cxn ang="0">
                    <a:pos x="2539" y="1345"/>
                  </a:cxn>
                  <a:cxn ang="0">
                    <a:pos x="2318" y="1341"/>
                  </a:cxn>
                  <a:cxn ang="0">
                    <a:pos x="2291" y="962"/>
                  </a:cxn>
                  <a:cxn ang="0">
                    <a:pos x="2342" y="854"/>
                  </a:cxn>
                  <a:cxn ang="0">
                    <a:pos x="2271" y="591"/>
                  </a:cxn>
                  <a:cxn ang="0">
                    <a:pos x="2314" y="479"/>
                  </a:cxn>
                  <a:cxn ang="0">
                    <a:pos x="2318" y="360"/>
                  </a:cxn>
                  <a:cxn ang="0">
                    <a:pos x="2198" y="334"/>
                  </a:cxn>
                  <a:cxn ang="0">
                    <a:pos x="2102" y="394"/>
                  </a:cxn>
                  <a:cxn ang="0">
                    <a:pos x="1949" y="204"/>
                  </a:cxn>
                  <a:cxn ang="0">
                    <a:pos x="1824" y="114"/>
                  </a:cxn>
                  <a:cxn ang="0">
                    <a:pos x="1725" y="0"/>
                  </a:cxn>
                  <a:cxn ang="0">
                    <a:pos x="1484" y="16"/>
                  </a:cxn>
                  <a:cxn ang="0">
                    <a:pos x="1241" y="180"/>
                  </a:cxn>
                  <a:cxn ang="0">
                    <a:pos x="1244" y="297"/>
                  </a:cxn>
                  <a:cxn ang="0">
                    <a:pos x="1185" y="411"/>
                  </a:cxn>
                  <a:cxn ang="0">
                    <a:pos x="990" y="459"/>
                  </a:cxn>
                  <a:cxn ang="0">
                    <a:pos x="855" y="468"/>
                  </a:cxn>
                  <a:cxn ang="0">
                    <a:pos x="771" y="563"/>
                  </a:cxn>
                  <a:cxn ang="0">
                    <a:pos x="676" y="591"/>
                  </a:cxn>
                  <a:cxn ang="0">
                    <a:pos x="428" y="627"/>
                  </a:cxn>
                  <a:cxn ang="0">
                    <a:pos x="158" y="625"/>
                  </a:cxn>
                  <a:cxn ang="0">
                    <a:pos x="110" y="741"/>
                  </a:cxn>
                  <a:cxn ang="0">
                    <a:pos x="0" y="807"/>
                  </a:cxn>
                  <a:cxn ang="0">
                    <a:pos x="62" y="886"/>
                  </a:cxn>
                  <a:cxn ang="0">
                    <a:pos x="153" y="825"/>
                  </a:cxn>
                  <a:cxn ang="0">
                    <a:pos x="300" y="817"/>
                  </a:cxn>
                  <a:cxn ang="0">
                    <a:pos x="452" y="783"/>
                  </a:cxn>
                  <a:cxn ang="0">
                    <a:pos x="542" y="825"/>
                  </a:cxn>
                  <a:cxn ang="0">
                    <a:pos x="603" y="783"/>
                  </a:cxn>
                  <a:cxn ang="0">
                    <a:pos x="674" y="828"/>
                  </a:cxn>
                  <a:cxn ang="0">
                    <a:pos x="660" y="1018"/>
                  </a:cxn>
                  <a:cxn ang="0">
                    <a:pos x="593" y="1161"/>
                  </a:cxn>
                  <a:cxn ang="0">
                    <a:pos x="676" y="1345"/>
                  </a:cxn>
                  <a:cxn ang="0">
                    <a:pos x="629" y="1465"/>
                  </a:cxn>
                  <a:cxn ang="0">
                    <a:pos x="688" y="1596"/>
                  </a:cxn>
                  <a:cxn ang="0">
                    <a:pos x="708" y="1680"/>
                  </a:cxn>
                  <a:cxn ang="0">
                    <a:pos x="838" y="1788"/>
                  </a:cxn>
                  <a:cxn ang="0">
                    <a:pos x="991" y="1896"/>
                  </a:cxn>
                  <a:cxn ang="0">
                    <a:pos x="1038" y="1975"/>
                  </a:cxn>
                  <a:cxn ang="0">
                    <a:pos x="1216" y="2015"/>
                  </a:cxn>
                  <a:cxn ang="0">
                    <a:pos x="1373" y="1999"/>
                  </a:cxn>
                  <a:cxn ang="0">
                    <a:pos x="1539" y="2131"/>
                  </a:cxn>
                  <a:cxn ang="0">
                    <a:pos x="1605" y="2071"/>
                  </a:cxn>
                  <a:cxn ang="0">
                    <a:pos x="1735" y="2243"/>
                  </a:cxn>
                  <a:cxn ang="0">
                    <a:pos x="1999" y="2279"/>
                  </a:cxn>
                  <a:cxn ang="0">
                    <a:pos x="2090" y="2398"/>
                  </a:cxn>
                  <a:cxn ang="0">
                    <a:pos x="2184" y="2458"/>
                  </a:cxn>
                  <a:cxn ang="0">
                    <a:pos x="2460" y="2466"/>
                  </a:cxn>
                  <a:cxn ang="0">
                    <a:pos x="2645" y="2550"/>
                  </a:cxn>
                </a:cxnLst>
                <a:rect l="0" t="0" r="r" b="b"/>
                <a:pathLst>
                  <a:path w="3027" h="2550">
                    <a:moveTo>
                      <a:pt x="2645" y="2550"/>
                    </a:moveTo>
                    <a:lnTo>
                      <a:pt x="2684" y="2454"/>
                    </a:lnTo>
                    <a:lnTo>
                      <a:pt x="2779" y="2418"/>
                    </a:lnTo>
                    <a:lnTo>
                      <a:pt x="2858" y="2231"/>
                    </a:lnTo>
                    <a:lnTo>
                      <a:pt x="2956" y="2159"/>
                    </a:lnTo>
                    <a:lnTo>
                      <a:pt x="3027" y="2003"/>
                    </a:lnTo>
                    <a:lnTo>
                      <a:pt x="3015" y="1836"/>
                    </a:lnTo>
                    <a:lnTo>
                      <a:pt x="2944" y="1716"/>
                    </a:lnTo>
                    <a:lnTo>
                      <a:pt x="2921" y="1608"/>
                    </a:lnTo>
                    <a:lnTo>
                      <a:pt x="3015" y="1536"/>
                    </a:lnTo>
                    <a:lnTo>
                      <a:pt x="2988" y="1417"/>
                    </a:lnTo>
                    <a:lnTo>
                      <a:pt x="2858" y="1405"/>
                    </a:lnTo>
                    <a:lnTo>
                      <a:pt x="2775" y="1341"/>
                    </a:lnTo>
                    <a:lnTo>
                      <a:pt x="2539" y="1345"/>
                    </a:lnTo>
                    <a:lnTo>
                      <a:pt x="2318" y="1341"/>
                    </a:lnTo>
                    <a:lnTo>
                      <a:pt x="2291" y="962"/>
                    </a:lnTo>
                    <a:lnTo>
                      <a:pt x="2342" y="854"/>
                    </a:lnTo>
                    <a:lnTo>
                      <a:pt x="2271" y="591"/>
                    </a:lnTo>
                    <a:lnTo>
                      <a:pt x="2314" y="479"/>
                    </a:lnTo>
                    <a:lnTo>
                      <a:pt x="2318" y="360"/>
                    </a:lnTo>
                    <a:lnTo>
                      <a:pt x="2198" y="334"/>
                    </a:lnTo>
                    <a:lnTo>
                      <a:pt x="2102" y="394"/>
                    </a:lnTo>
                    <a:lnTo>
                      <a:pt x="1949" y="204"/>
                    </a:lnTo>
                    <a:lnTo>
                      <a:pt x="1824" y="114"/>
                    </a:lnTo>
                    <a:lnTo>
                      <a:pt x="1725" y="0"/>
                    </a:lnTo>
                    <a:lnTo>
                      <a:pt x="1484" y="16"/>
                    </a:lnTo>
                    <a:lnTo>
                      <a:pt x="1241" y="180"/>
                    </a:lnTo>
                    <a:lnTo>
                      <a:pt x="1244" y="297"/>
                    </a:lnTo>
                    <a:lnTo>
                      <a:pt x="1185" y="411"/>
                    </a:lnTo>
                    <a:lnTo>
                      <a:pt x="990" y="459"/>
                    </a:lnTo>
                    <a:lnTo>
                      <a:pt x="855" y="468"/>
                    </a:lnTo>
                    <a:lnTo>
                      <a:pt x="771" y="563"/>
                    </a:lnTo>
                    <a:lnTo>
                      <a:pt x="676" y="591"/>
                    </a:lnTo>
                    <a:lnTo>
                      <a:pt x="428" y="627"/>
                    </a:lnTo>
                    <a:lnTo>
                      <a:pt x="158" y="625"/>
                    </a:lnTo>
                    <a:lnTo>
                      <a:pt x="110" y="741"/>
                    </a:lnTo>
                    <a:lnTo>
                      <a:pt x="0" y="807"/>
                    </a:lnTo>
                    <a:lnTo>
                      <a:pt x="62" y="886"/>
                    </a:lnTo>
                    <a:lnTo>
                      <a:pt x="153" y="825"/>
                    </a:lnTo>
                    <a:lnTo>
                      <a:pt x="300" y="817"/>
                    </a:lnTo>
                    <a:lnTo>
                      <a:pt x="452" y="783"/>
                    </a:lnTo>
                    <a:lnTo>
                      <a:pt x="542" y="825"/>
                    </a:lnTo>
                    <a:lnTo>
                      <a:pt x="603" y="783"/>
                    </a:lnTo>
                    <a:lnTo>
                      <a:pt x="674" y="828"/>
                    </a:lnTo>
                    <a:lnTo>
                      <a:pt x="660" y="1018"/>
                    </a:lnTo>
                    <a:lnTo>
                      <a:pt x="593" y="1161"/>
                    </a:lnTo>
                    <a:lnTo>
                      <a:pt x="676" y="1345"/>
                    </a:lnTo>
                    <a:lnTo>
                      <a:pt x="629" y="1465"/>
                    </a:lnTo>
                    <a:lnTo>
                      <a:pt x="688" y="1596"/>
                    </a:lnTo>
                    <a:lnTo>
                      <a:pt x="708" y="1680"/>
                    </a:lnTo>
                    <a:lnTo>
                      <a:pt x="838" y="1788"/>
                    </a:lnTo>
                    <a:lnTo>
                      <a:pt x="991" y="1896"/>
                    </a:lnTo>
                    <a:lnTo>
                      <a:pt x="1038" y="1975"/>
                    </a:lnTo>
                    <a:lnTo>
                      <a:pt x="1216" y="2015"/>
                    </a:lnTo>
                    <a:lnTo>
                      <a:pt x="1373" y="1999"/>
                    </a:lnTo>
                    <a:lnTo>
                      <a:pt x="1539" y="2131"/>
                    </a:lnTo>
                    <a:lnTo>
                      <a:pt x="1605" y="2071"/>
                    </a:lnTo>
                    <a:lnTo>
                      <a:pt x="1735" y="2243"/>
                    </a:lnTo>
                    <a:lnTo>
                      <a:pt x="1999" y="2279"/>
                    </a:lnTo>
                    <a:lnTo>
                      <a:pt x="2090" y="2398"/>
                    </a:lnTo>
                    <a:lnTo>
                      <a:pt x="2184" y="2458"/>
                    </a:lnTo>
                    <a:lnTo>
                      <a:pt x="2460" y="2466"/>
                    </a:lnTo>
                    <a:lnTo>
                      <a:pt x="2645" y="255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2" name="Freeform 24">
                <a:extLst>
                  <a:ext uri="{FF2B5EF4-FFF2-40B4-BE49-F238E27FC236}">
                    <a16:creationId xmlns:a16="http://schemas.microsoft.com/office/drawing/2014/main" id="{CF748B10-7EE5-4461-B418-AA5050D209A2}"/>
                  </a:ext>
                </a:extLst>
              </p:cNvPr>
              <p:cNvSpPr>
                <a:spLocks/>
              </p:cNvSpPr>
              <p:nvPr/>
            </p:nvSpPr>
            <p:spPr bwMode="auto">
              <a:xfrm>
                <a:off x="265" y="1819"/>
                <a:ext cx="594" cy="325"/>
              </a:xfrm>
              <a:custGeom>
                <a:avLst/>
                <a:gdLst/>
                <a:ahLst/>
                <a:cxnLst>
                  <a:cxn ang="0">
                    <a:pos x="101" y="0"/>
                  </a:cxn>
                  <a:cxn ang="0">
                    <a:pos x="0" y="226"/>
                  </a:cxn>
                  <a:cxn ang="0">
                    <a:pos x="94" y="341"/>
                  </a:cxn>
                  <a:cxn ang="0">
                    <a:pos x="261" y="695"/>
                  </a:cxn>
                  <a:cxn ang="0">
                    <a:pos x="562" y="1078"/>
                  </a:cxn>
                  <a:cxn ang="0">
                    <a:pos x="445" y="1236"/>
                  </a:cxn>
                  <a:cxn ang="0">
                    <a:pos x="652" y="1266"/>
                  </a:cxn>
                  <a:cxn ang="0">
                    <a:pos x="828" y="1316"/>
                  </a:cxn>
                  <a:cxn ang="0">
                    <a:pos x="947" y="1415"/>
                  </a:cxn>
                  <a:cxn ang="0">
                    <a:pos x="1060" y="1585"/>
                  </a:cxn>
                  <a:cxn ang="0">
                    <a:pos x="1508" y="1565"/>
                  </a:cxn>
                  <a:cxn ang="0">
                    <a:pos x="1828" y="1284"/>
                  </a:cxn>
                  <a:cxn ang="0">
                    <a:pos x="1887" y="1435"/>
                  </a:cxn>
                  <a:cxn ang="0">
                    <a:pos x="1813" y="1570"/>
                  </a:cxn>
                  <a:cxn ang="0">
                    <a:pos x="1847" y="2049"/>
                  </a:cxn>
                  <a:cxn ang="0">
                    <a:pos x="2004" y="2164"/>
                  </a:cxn>
                  <a:cxn ang="0">
                    <a:pos x="2187" y="2089"/>
                  </a:cxn>
                  <a:cxn ang="0">
                    <a:pos x="2420" y="2085"/>
                  </a:cxn>
                  <a:cxn ang="0">
                    <a:pos x="2674" y="2094"/>
                  </a:cxn>
                  <a:cxn ang="0">
                    <a:pos x="2880" y="2199"/>
                  </a:cxn>
                  <a:cxn ang="0">
                    <a:pos x="3052" y="2164"/>
                  </a:cxn>
                  <a:cxn ang="0">
                    <a:pos x="3279" y="1939"/>
                  </a:cxn>
                  <a:cxn ang="0">
                    <a:pos x="3451" y="1944"/>
                  </a:cxn>
                  <a:cxn ang="0">
                    <a:pos x="3775" y="1705"/>
                  </a:cxn>
                  <a:cxn ang="0">
                    <a:pos x="3967" y="1540"/>
                  </a:cxn>
                  <a:cxn ang="0">
                    <a:pos x="3893" y="1435"/>
                  </a:cxn>
                  <a:cxn ang="0">
                    <a:pos x="3627" y="1346"/>
                  </a:cxn>
                  <a:cxn ang="0">
                    <a:pos x="2801" y="956"/>
                  </a:cxn>
                  <a:cxn ang="0">
                    <a:pos x="2299" y="718"/>
                  </a:cxn>
                  <a:cxn ang="0">
                    <a:pos x="2063" y="538"/>
                  </a:cxn>
                  <a:cxn ang="0">
                    <a:pos x="1611" y="448"/>
                  </a:cxn>
                  <a:cxn ang="0">
                    <a:pos x="1006" y="269"/>
                  </a:cxn>
                  <a:cxn ang="0">
                    <a:pos x="868" y="254"/>
                  </a:cxn>
                  <a:cxn ang="0">
                    <a:pos x="101" y="0"/>
                  </a:cxn>
                </a:cxnLst>
                <a:rect l="0" t="0" r="r" b="b"/>
                <a:pathLst>
                  <a:path w="3967" h="2199">
                    <a:moveTo>
                      <a:pt x="101" y="0"/>
                    </a:moveTo>
                    <a:lnTo>
                      <a:pt x="0" y="226"/>
                    </a:lnTo>
                    <a:lnTo>
                      <a:pt x="94" y="341"/>
                    </a:lnTo>
                    <a:lnTo>
                      <a:pt x="261" y="695"/>
                    </a:lnTo>
                    <a:lnTo>
                      <a:pt x="562" y="1078"/>
                    </a:lnTo>
                    <a:lnTo>
                      <a:pt x="445" y="1236"/>
                    </a:lnTo>
                    <a:lnTo>
                      <a:pt x="652" y="1266"/>
                    </a:lnTo>
                    <a:lnTo>
                      <a:pt x="828" y="1316"/>
                    </a:lnTo>
                    <a:lnTo>
                      <a:pt x="947" y="1415"/>
                    </a:lnTo>
                    <a:lnTo>
                      <a:pt x="1060" y="1585"/>
                    </a:lnTo>
                    <a:lnTo>
                      <a:pt x="1508" y="1565"/>
                    </a:lnTo>
                    <a:lnTo>
                      <a:pt x="1828" y="1284"/>
                    </a:lnTo>
                    <a:lnTo>
                      <a:pt x="1887" y="1435"/>
                    </a:lnTo>
                    <a:lnTo>
                      <a:pt x="1813" y="1570"/>
                    </a:lnTo>
                    <a:lnTo>
                      <a:pt x="1847" y="2049"/>
                    </a:lnTo>
                    <a:lnTo>
                      <a:pt x="2004" y="2164"/>
                    </a:lnTo>
                    <a:lnTo>
                      <a:pt x="2187" y="2089"/>
                    </a:lnTo>
                    <a:lnTo>
                      <a:pt x="2420" y="2085"/>
                    </a:lnTo>
                    <a:lnTo>
                      <a:pt x="2674" y="2094"/>
                    </a:lnTo>
                    <a:lnTo>
                      <a:pt x="2880" y="2199"/>
                    </a:lnTo>
                    <a:lnTo>
                      <a:pt x="3052" y="2164"/>
                    </a:lnTo>
                    <a:lnTo>
                      <a:pt x="3279" y="1939"/>
                    </a:lnTo>
                    <a:lnTo>
                      <a:pt x="3451" y="1944"/>
                    </a:lnTo>
                    <a:lnTo>
                      <a:pt x="3775" y="1705"/>
                    </a:lnTo>
                    <a:lnTo>
                      <a:pt x="3967" y="1540"/>
                    </a:lnTo>
                    <a:lnTo>
                      <a:pt x="3893" y="1435"/>
                    </a:lnTo>
                    <a:lnTo>
                      <a:pt x="3627" y="1346"/>
                    </a:lnTo>
                    <a:lnTo>
                      <a:pt x="2801" y="956"/>
                    </a:lnTo>
                    <a:lnTo>
                      <a:pt x="2299" y="718"/>
                    </a:lnTo>
                    <a:lnTo>
                      <a:pt x="2063" y="538"/>
                    </a:lnTo>
                    <a:lnTo>
                      <a:pt x="1611" y="448"/>
                    </a:lnTo>
                    <a:lnTo>
                      <a:pt x="1006" y="269"/>
                    </a:lnTo>
                    <a:lnTo>
                      <a:pt x="868" y="254"/>
                    </a:lnTo>
                    <a:lnTo>
                      <a:pt x="101"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3" name="Freeform 25">
                <a:extLst>
                  <a:ext uri="{FF2B5EF4-FFF2-40B4-BE49-F238E27FC236}">
                    <a16:creationId xmlns:a16="http://schemas.microsoft.com/office/drawing/2014/main" id="{E418B519-2FCD-4084-8728-8B35B3A42E4E}"/>
                  </a:ext>
                </a:extLst>
              </p:cNvPr>
              <p:cNvSpPr>
                <a:spLocks/>
              </p:cNvSpPr>
              <p:nvPr/>
            </p:nvSpPr>
            <p:spPr bwMode="auto">
              <a:xfrm>
                <a:off x="280" y="1053"/>
                <a:ext cx="1429" cy="979"/>
              </a:xfrm>
              <a:custGeom>
                <a:avLst/>
                <a:gdLst/>
                <a:ahLst/>
                <a:cxnLst>
                  <a:cxn ang="0">
                    <a:pos x="2374" y="189"/>
                  </a:cxn>
                  <a:cxn ang="0">
                    <a:pos x="1961" y="208"/>
                  </a:cxn>
                  <a:cxn ang="0">
                    <a:pos x="1713" y="304"/>
                  </a:cxn>
                  <a:cxn ang="0">
                    <a:pos x="1799" y="512"/>
                  </a:cxn>
                  <a:cxn ang="0">
                    <a:pos x="2008" y="572"/>
                  </a:cxn>
                  <a:cxn ang="0">
                    <a:pos x="1941" y="691"/>
                  </a:cxn>
                  <a:cxn ang="0">
                    <a:pos x="1729" y="715"/>
                  </a:cxn>
                  <a:cxn ang="0">
                    <a:pos x="1599" y="927"/>
                  </a:cxn>
                  <a:cxn ang="0">
                    <a:pos x="1811" y="1206"/>
                  </a:cxn>
                  <a:cxn ang="0">
                    <a:pos x="1902" y="1453"/>
                  </a:cxn>
                  <a:cxn ang="0">
                    <a:pos x="1878" y="1693"/>
                  </a:cxn>
                  <a:cxn ang="0">
                    <a:pos x="1559" y="2918"/>
                  </a:cxn>
                  <a:cxn ang="0">
                    <a:pos x="1288" y="2822"/>
                  </a:cxn>
                  <a:cxn ang="0">
                    <a:pos x="1087" y="2938"/>
                  </a:cxn>
                  <a:cxn ang="0">
                    <a:pos x="366" y="3281"/>
                  </a:cxn>
                  <a:cxn ang="0">
                    <a:pos x="240" y="3612"/>
                  </a:cxn>
                  <a:cxn ang="0">
                    <a:pos x="276" y="3852"/>
                  </a:cxn>
                  <a:cxn ang="0">
                    <a:pos x="12" y="4039"/>
                  </a:cxn>
                  <a:cxn ang="0">
                    <a:pos x="619" y="4356"/>
                  </a:cxn>
                  <a:cxn ang="0">
                    <a:pos x="1215" y="4512"/>
                  </a:cxn>
                  <a:cxn ang="0">
                    <a:pos x="1764" y="4729"/>
                  </a:cxn>
                  <a:cxn ang="0">
                    <a:pos x="3036" y="5300"/>
                  </a:cxn>
                  <a:cxn ang="0">
                    <a:pos x="3193" y="5120"/>
                  </a:cxn>
                  <a:cxn ang="0">
                    <a:pos x="3708" y="5085"/>
                  </a:cxn>
                  <a:cxn ang="0">
                    <a:pos x="3890" y="4961"/>
                  </a:cxn>
                  <a:cxn ang="0">
                    <a:pos x="4221" y="4905"/>
                  </a:cxn>
                  <a:cxn ang="0">
                    <a:pos x="4280" y="4674"/>
                  </a:cxn>
                  <a:cxn ang="0">
                    <a:pos x="4761" y="4494"/>
                  </a:cxn>
                  <a:cxn ang="0">
                    <a:pos x="4989" y="4701"/>
                  </a:cxn>
                  <a:cxn ang="0">
                    <a:pos x="5233" y="4829"/>
                  </a:cxn>
                  <a:cxn ang="0">
                    <a:pos x="6674" y="4853"/>
                  </a:cxn>
                  <a:cxn ang="0">
                    <a:pos x="6796" y="4123"/>
                  </a:cxn>
                  <a:cxn ang="0">
                    <a:pos x="7635" y="2040"/>
                  </a:cxn>
                  <a:cxn ang="0">
                    <a:pos x="7099" y="1661"/>
                  </a:cxn>
                  <a:cxn ang="0">
                    <a:pos x="6621" y="1291"/>
                  </a:cxn>
                  <a:cxn ang="0">
                    <a:pos x="6548" y="951"/>
                  </a:cxn>
                  <a:cxn ang="0">
                    <a:pos x="6300" y="871"/>
                  </a:cxn>
                  <a:cxn ang="0">
                    <a:pos x="5970" y="955"/>
                  </a:cxn>
                  <a:cxn ang="0">
                    <a:pos x="5895" y="1240"/>
                  </a:cxn>
                  <a:cxn ang="0">
                    <a:pos x="5745" y="1327"/>
                  </a:cxn>
                  <a:cxn ang="0">
                    <a:pos x="5473" y="1190"/>
                  </a:cxn>
                  <a:cxn ang="0">
                    <a:pos x="5341" y="1467"/>
                  </a:cxn>
                  <a:cxn ang="0">
                    <a:pos x="5208" y="1576"/>
                  </a:cxn>
                  <a:cxn ang="0">
                    <a:pos x="4954" y="1338"/>
                  </a:cxn>
                  <a:cxn ang="0">
                    <a:pos x="5013" y="1137"/>
                  </a:cxn>
                  <a:cxn ang="0">
                    <a:pos x="4953" y="577"/>
                  </a:cxn>
                  <a:cxn ang="0">
                    <a:pos x="4822" y="258"/>
                  </a:cxn>
                  <a:cxn ang="0">
                    <a:pos x="4678" y="69"/>
                  </a:cxn>
                  <a:cxn ang="0">
                    <a:pos x="4381" y="78"/>
                  </a:cxn>
                  <a:cxn ang="0">
                    <a:pos x="4246" y="237"/>
                  </a:cxn>
                  <a:cxn ang="0">
                    <a:pos x="4040" y="352"/>
                  </a:cxn>
                  <a:cxn ang="0">
                    <a:pos x="3607" y="687"/>
                  </a:cxn>
                  <a:cxn ang="0">
                    <a:pos x="3497" y="536"/>
                  </a:cxn>
                  <a:cxn ang="0">
                    <a:pos x="3012" y="416"/>
                  </a:cxn>
                  <a:cxn ang="0">
                    <a:pos x="2922" y="256"/>
                  </a:cxn>
                  <a:cxn ang="0">
                    <a:pos x="2804" y="9"/>
                  </a:cxn>
                  <a:cxn ang="0">
                    <a:pos x="2551" y="208"/>
                  </a:cxn>
                </a:cxnLst>
                <a:rect l="0" t="0" r="r" b="b"/>
                <a:pathLst>
                  <a:path w="7635" h="5300">
                    <a:moveTo>
                      <a:pt x="2422" y="79"/>
                    </a:moveTo>
                    <a:lnTo>
                      <a:pt x="2374" y="189"/>
                    </a:lnTo>
                    <a:lnTo>
                      <a:pt x="2143" y="225"/>
                    </a:lnTo>
                    <a:lnTo>
                      <a:pt x="1961" y="208"/>
                    </a:lnTo>
                    <a:lnTo>
                      <a:pt x="1744" y="210"/>
                    </a:lnTo>
                    <a:lnTo>
                      <a:pt x="1713" y="304"/>
                    </a:lnTo>
                    <a:lnTo>
                      <a:pt x="1717" y="464"/>
                    </a:lnTo>
                    <a:lnTo>
                      <a:pt x="1799" y="512"/>
                    </a:lnTo>
                    <a:lnTo>
                      <a:pt x="1961" y="508"/>
                    </a:lnTo>
                    <a:lnTo>
                      <a:pt x="2008" y="572"/>
                    </a:lnTo>
                    <a:lnTo>
                      <a:pt x="2024" y="651"/>
                    </a:lnTo>
                    <a:lnTo>
                      <a:pt x="1941" y="691"/>
                    </a:lnTo>
                    <a:lnTo>
                      <a:pt x="1859" y="663"/>
                    </a:lnTo>
                    <a:lnTo>
                      <a:pt x="1729" y="715"/>
                    </a:lnTo>
                    <a:lnTo>
                      <a:pt x="1610" y="735"/>
                    </a:lnTo>
                    <a:lnTo>
                      <a:pt x="1599" y="927"/>
                    </a:lnTo>
                    <a:lnTo>
                      <a:pt x="1618" y="1106"/>
                    </a:lnTo>
                    <a:lnTo>
                      <a:pt x="1811" y="1206"/>
                    </a:lnTo>
                    <a:lnTo>
                      <a:pt x="1819" y="1338"/>
                    </a:lnTo>
                    <a:lnTo>
                      <a:pt x="1902" y="1453"/>
                    </a:lnTo>
                    <a:lnTo>
                      <a:pt x="1914" y="1561"/>
                    </a:lnTo>
                    <a:lnTo>
                      <a:pt x="1878" y="1693"/>
                    </a:lnTo>
                    <a:lnTo>
                      <a:pt x="1666" y="2842"/>
                    </a:lnTo>
                    <a:lnTo>
                      <a:pt x="1559" y="2918"/>
                    </a:lnTo>
                    <a:lnTo>
                      <a:pt x="1500" y="2810"/>
                    </a:lnTo>
                    <a:lnTo>
                      <a:pt x="1288" y="2822"/>
                    </a:lnTo>
                    <a:lnTo>
                      <a:pt x="1217" y="2902"/>
                    </a:lnTo>
                    <a:lnTo>
                      <a:pt x="1087" y="2938"/>
                    </a:lnTo>
                    <a:lnTo>
                      <a:pt x="803" y="2974"/>
                    </a:lnTo>
                    <a:lnTo>
                      <a:pt x="366" y="3281"/>
                    </a:lnTo>
                    <a:lnTo>
                      <a:pt x="347" y="3480"/>
                    </a:lnTo>
                    <a:lnTo>
                      <a:pt x="240" y="3612"/>
                    </a:lnTo>
                    <a:lnTo>
                      <a:pt x="236" y="3732"/>
                    </a:lnTo>
                    <a:lnTo>
                      <a:pt x="276" y="3852"/>
                    </a:lnTo>
                    <a:lnTo>
                      <a:pt x="122" y="3931"/>
                    </a:lnTo>
                    <a:lnTo>
                      <a:pt x="12" y="4039"/>
                    </a:lnTo>
                    <a:lnTo>
                      <a:pt x="0" y="4151"/>
                    </a:lnTo>
                    <a:lnTo>
                      <a:pt x="619" y="4356"/>
                    </a:lnTo>
                    <a:lnTo>
                      <a:pt x="732" y="4369"/>
                    </a:lnTo>
                    <a:lnTo>
                      <a:pt x="1215" y="4512"/>
                    </a:lnTo>
                    <a:lnTo>
                      <a:pt x="1573" y="4584"/>
                    </a:lnTo>
                    <a:lnTo>
                      <a:pt x="1764" y="4729"/>
                    </a:lnTo>
                    <a:lnTo>
                      <a:pt x="2839" y="5236"/>
                    </a:lnTo>
                    <a:lnTo>
                      <a:pt x="3036" y="5300"/>
                    </a:lnTo>
                    <a:lnTo>
                      <a:pt x="3146" y="5236"/>
                    </a:lnTo>
                    <a:lnTo>
                      <a:pt x="3193" y="5120"/>
                    </a:lnTo>
                    <a:lnTo>
                      <a:pt x="3477" y="5120"/>
                    </a:lnTo>
                    <a:lnTo>
                      <a:pt x="3708" y="5085"/>
                    </a:lnTo>
                    <a:lnTo>
                      <a:pt x="3810" y="5058"/>
                    </a:lnTo>
                    <a:lnTo>
                      <a:pt x="3890" y="4961"/>
                    </a:lnTo>
                    <a:lnTo>
                      <a:pt x="4020" y="4953"/>
                    </a:lnTo>
                    <a:lnTo>
                      <a:pt x="4221" y="4905"/>
                    </a:lnTo>
                    <a:lnTo>
                      <a:pt x="4280" y="4793"/>
                    </a:lnTo>
                    <a:lnTo>
                      <a:pt x="4280" y="4674"/>
                    </a:lnTo>
                    <a:lnTo>
                      <a:pt x="4524" y="4510"/>
                    </a:lnTo>
                    <a:lnTo>
                      <a:pt x="4761" y="4494"/>
                    </a:lnTo>
                    <a:lnTo>
                      <a:pt x="4867" y="4614"/>
                    </a:lnTo>
                    <a:lnTo>
                      <a:pt x="4989" y="4701"/>
                    </a:lnTo>
                    <a:lnTo>
                      <a:pt x="5139" y="4889"/>
                    </a:lnTo>
                    <a:lnTo>
                      <a:pt x="5233" y="4829"/>
                    </a:lnTo>
                    <a:lnTo>
                      <a:pt x="5363" y="4857"/>
                    </a:lnTo>
                    <a:lnTo>
                      <a:pt x="6674" y="4853"/>
                    </a:lnTo>
                    <a:lnTo>
                      <a:pt x="6808" y="4235"/>
                    </a:lnTo>
                    <a:lnTo>
                      <a:pt x="6796" y="4123"/>
                    </a:lnTo>
                    <a:lnTo>
                      <a:pt x="6698" y="4015"/>
                    </a:lnTo>
                    <a:lnTo>
                      <a:pt x="7635" y="2040"/>
                    </a:lnTo>
                    <a:lnTo>
                      <a:pt x="7348" y="1777"/>
                    </a:lnTo>
                    <a:lnTo>
                      <a:pt x="7099" y="1661"/>
                    </a:lnTo>
                    <a:lnTo>
                      <a:pt x="6863" y="1541"/>
                    </a:lnTo>
                    <a:lnTo>
                      <a:pt x="6621" y="1291"/>
                    </a:lnTo>
                    <a:lnTo>
                      <a:pt x="6521" y="1046"/>
                    </a:lnTo>
                    <a:lnTo>
                      <a:pt x="6548" y="951"/>
                    </a:lnTo>
                    <a:lnTo>
                      <a:pt x="6531" y="853"/>
                    </a:lnTo>
                    <a:lnTo>
                      <a:pt x="6300" y="871"/>
                    </a:lnTo>
                    <a:lnTo>
                      <a:pt x="6085" y="859"/>
                    </a:lnTo>
                    <a:lnTo>
                      <a:pt x="5970" y="955"/>
                    </a:lnTo>
                    <a:lnTo>
                      <a:pt x="5908" y="1093"/>
                    </a:lnTo>
                    <a:lnTo>
                      <a:pt x="5895" y="1240"/>
                    </a:lnTo>
                    <a:lnTo>
                      <a:pt x="5839" y="1334"/>
                    </a:lnTo>
                    <a:lnTo>
                      <a:pt x="5745" y="1327"/>
                    </a:lnTo>
                    <a:lnTo>
                      <a:pt x="5601" y="1194"/>
                    </a:lnTo>
                    <a:lnTo>
                      <a:pt x="5473" y="1190"/>
                    </a:lnTo>
                    <a:lnTo>
                      <a:pt x="5352" y="1332"/>
                    </a:lnTo>
                    <a:lnTo>
                      <a:pt x="5341" y="1467"/>
                    </a:lnTo>
                    <a:lnTo>
                      <a:pt x="5329" y="1585"/>
                    </a:lnTo>
                    <a:lnTo>
                      <a:pt x="5208" y="1576"/>
                    </a:lnTo>
                    <a:lnTo>
                      <a:pt x="5131" y="1447"/>
                    </a:lnTo>
                    <a:lnTo>
                      <a:pt x="4954" y="1338"/>
                    </a:lnTo>
                    <a:lnTo>
                      <a:pt x="5025" y="1237"/>
                    </a:lnTo>
                    <a:lnTo>
                      <a:pt x="5013" y="1137"/>
                    </a:lnTo>
                    <a:lnTo>
                      <a:pt x="4920" y="999"/>
                    </a:lnTo>
                    <a:lnTo>
                      <a:pt x="4953" y="577"/>
                    </a:lnTo>
                    <a:lnTo>
                      <a:pt x="4914" y="416"/>
                    </a:lnTo>
                    <a:lnTo>
                      <a:pt x="4822" y="258"/>
                    </a:lnTo>
                    <a:lnTo>
                      <a:pt x="4834" y="129"/>
                    </a:lnTo>
                    <a:lnTo>
                      <a:pt x="4678" y="69"/>
                    </a:lnTo>
                    <a:lnTo>
                      <a:pt x="4560" y="0"/>
                    </a:lnTo>
                    <a:lnTo>
                      <a:pt x="4381" y="78"/>
                    </a:lnTo>
                    <a:lnTo>
                      <a:pt x="4290" y="91"/>
                    </a:lnTo>
                    <a:lnTo>
                      <a:pt x="4246" y="237"/>
                    </a:lnTo>
                    <a:lnTo>
                      <a:pt x="4134" y="340"/>
                    </a:lnTo>
                    <a:lnTo>
                      <a:pt x="4040" y="352"/>
                    </a:lnTo>
                    <a:lnTo>
                      <a:pt x="3890" y="424"/>
                    </a:lnTo>
                    <a:lnTo>
                      <a:pt x="3607" y="687"/>
                    </a:lnTo>
                    <a:lnTo>
                      <a:pt x="3579" y="568"/>
                    </a:lnTo>
                    <a:lnTo>
                      <a:pt x="3497" y="536"/>
                    </a:lnTo>
                    <a:lnTo>
                      <a:pt x="3272" y="643"/>
                    </a:lnTo>
                    <a:lnTo>
                      <a:pt x="3012" y="416"/>
                    </a:lnTo>
                    <a:lnTo>
                      <a:pt x="2898" y="416"/>
                    </a:lnTo>
                    <a:lnTo>
                      <a:pt x="2922" y="256"/>
                    </a:lnTo>
                    <a:lnTo>
                      <a:pt x="2847" y="177"/>
                    </a:lnTo>
                    <a:lnTo>
                      <a:pt x="2804" y="9"/>
                    </a:lnTo>
                    <a:lnTo>
                      <a:pt x="2647" y="91"/>
                    </a:lnTo>
                    <a:lnTo>
                      <a:pt x="2551" y="208"/>
                    </a:lnTo>
                    <a:lnTo>
                      <a:pt x="2422" y="7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4" name="Freeform 26">
                <a:extLst>
                  <a:ext uri="{FF2B5EF4-FFF2-40B4-BE49-F238E27FC236}">
                    <a16:creationId xmlns:a16="http://schemas.microsoft.com/office/drawing/2014/main" id="{A9D0BCE8-AE19-4ECC-A2A6-FE0504DD2FC7}"/>
                  </a:ext>
                </a:extLst>
              </p:cNvPr>
              <p:cNvSpPr>
                <a:spLocks/>
              </p:cNvSpPr>
              <p:nvPr/>
            </p:nvSpPr>
            <p:spPr bwMode="auto">
              <a:xfrm>
                <a:off x="1274" y="1817"/>
                <a:ext cx="928" cy="895"/>
              </a:xfrm>
              <a:custGeom>
                <a:avLst/>
                <a:gdLst/>
                <a:ahLst/>
                <a:cxnLst>
                  <a:cxn ang="0">
                    <a:pos x="492" y="2993"/>
                  </a:cxn>
                  <a:cxn ang="0">
                    <a:pos x="551" y="3304"/>
                  </a:cxn>
                  <a:cxn ang="0">
                    <a:pos x="440" y="3532"/>
                  </a:cxn>
                  <a:cxn ang="0">
                    <a:pos x="578" y="3998"/>
                  </a:cxn>
                  <a:cxn ang="0">
                    <a:pos x="1319" y="4223"/>
                  </a:cxn>
                  <a:cxn ang="0">
                    <a:pos x="1453" y="4569"/>
                  </a:cxn>
                  <a:cxn ang="0">
                    <a:pos x="1626" y="4700"/>
                  </a:cxn>
                  <a:cxn ang="0">
                    <a:pos x="1880" y="4700"/>
                  </a:cxn>
                  <a:cxn ang="0">
                    <a:pos x="2126" y="4523"/>
                  </a:cxn>
                  <a:cxn ang="0">
                    <a:pos x="2410" y="4477"/>
                  </a:cxn>
                  <a:cxn ang="0">
                    <a:pos x="2693" y="4700"/>
                  </a:cxn>
                  <a:cxn ang="0">
                    <a:pos x="2961" y="4597"/>
                  </a:cxn>
                  <a:cxn ang="0">
                    <a:pos x="3177" y="4617"/>
                  </a:cxn>
                  <a:cxn ang="0">
                    <a:pos x="3320" y="4561"/>
                  </a:cxn>
                  <a:cxn ang="0">
                    <a:pos x="3209" y="4760"/>
                  </a:cxn>
                  <a:cxn ang="0">
                    <a:pos x="3425" y="4832"/>
                  </a:cxn>
                  <a:cxn ang="0">
                    <a:pos x="3544" y="4641"/>
                  </a:cxn>
                  <a:cxn ang="0">
                    <a:pos x="3610" y="4429"/>
                  </a:cxn>
                  <a:cxn ang="0">
                    <a:pos x="3752" y="4245"/>
                  </a:cxn>
                  <a:cxn ang="0">
                    <a:pos x="3953" y="3862"/>
                  </a:cxn>
                  <a:cxn ang="0">
                    <a:pos x="4213" y="3695"/>
                  </a:cxn>
                  <a:cxn ang="0">
                    <a:pos x="4453" y="3483"/>
                  </a:cxn>
                  <a:cxn ang="0">
                    <a:pos x="4544" y="3184"/>
                  </a:cxn>
                  <a:cxn ang="0">
                    <a:pos x="4626" y="2969"/>
                  </a:cxn>
                  <a:cxn ang="0">
                    <a:pos x="4796" y="2574"/>
                  </a:cxn>
                  <a:cxn ang="0">
                    <a:pos x="4744" y="2346"/>
                  </a:cxn>
                  <a:cxn ang="0">
                    <a:pos x="4851" y="1415"/>
                  </a:cxn>
                  <a:cxn ang="0">
                    <a:pos x="2725" y="1073"/>
                  </a:cxn>
                  <a:cxn ang="0">
                    <a:pos x="1937" y="834"/>
                  </a:cxn>
                  <a:cxn ang="0">
                    <a:pos x="1732" y="491"/>
                  </a:cxn>
                  <a:cxn ang="0">
                    <a:pos x="1496" y="0"/>
                  </a:cxn>
                  <a:cxn ang="0">
                    <a:pos x="1370" y="714"/>
                  </a:cxn>
                  <a:cxn ang="0">
                    <a:pos x="42" y="833"/>
                  </a:cxn>
                  <a:cxn ang="0">
                    <a:pos x="71" y="1211"/>
                  </a:cxn>
                  <a:cxn ang="0">
                    <a:pos x="47" y="1696"/>
                  </a:cxn>
                  <a:cxn ang="0">
                    <a:pos x="506" y="1697"/>
                  </a:cxn>
                  <a:cxn ang="0">
                    <a:pos x="719" y="1774"/>
                  </a:cxn>
                  <a:cxn ang="0">
                    <a:pos x="651" y="1964"/>
                  </a:cxn>
                  <a:cxn ang="0">
                    <a:pos x="744" y="2192"/>
                  </a:cxn>
                  <a:cxn ang="0">
                    <a:pos x="684" y="2516"/>
                  </a:cxn>
                  <a:cxn ang="0">
                    <a:pos x="508" y="2773"/>
                  </a:cxn>
                  <a:cxn ang="0">
                    <a:pos x="375" y="2906"/>
                  </a:cxn>
                </a:cxnLst>
                <a:rect l="0" t="0" r="r" b="b"/>
                <a:pathLst>
                  <a:path w="4961" h="4846">
                    <a:moveTo>
                      <a:pt x="375" y="2906"/>
                    </a:moveTo>
                    <a:lnTo>
                      <a:pt x="492" y="2993"/>
                    </a:lnTo>
                    <a:lnTo>
                      <a:pt x="473" y="3110"/>
                    </a:lnTo>
                    <a:lnTo>
                      <a:pt x="551" y="3304"/>
                    </a:lnTo>
                    <a:lnTo>
                      <a:pt x="563" y="3514"/>
                    </a:lnTo>
                    <a:lnTo>
                      <a:pt x="440" y="3532"/>
                    </a:lnTo>
                    <a:lnTo>
                      <a:pt x="552" y="3677"/>
                    </a:lnTo>
                    <a:lnTo>
                      <a:pt x="578" y="3998"/>
                    </a:lnTo>
                    <a:lnTo>
                      <a:pt x="1401" y="4058"/>
                    </a:lnTo>
                    <a:lnTo>
                      <a:pt x="1319" y="4223"/>
                    </a:lnTo>
                    <a:lnTo>
                      <a:pt x="1343" y="4453"/>
                    </a:lnTo>
                    <a:lnTo>
                      <a:pt x="1453" y="4569"/>
                    </a:lnTo>
                    <a:lnTo>
                      <a:pt x="1581" y="4580"/>
                    </a:lnTo>
                    <a:lnTo>
                      <a:pt x="1626" y="4700"/>
                    </a:lnTo>
                    <a:lnTo>
                      <a:pt x="1739" y="4741"/>
                    </a:lnTo>
                    <a:lnTo>
                      <a:pt x="1880" y="4700"/>
                    </a:lnTo>
                    <a:lnTo>
                      <a:pt x="2007" y="4525"/>
                    </a:lnTo>
                    <a:lnTo>
                      <a:pt x="2126" y="4523"/>
                    </a:lnTo>
                    <a:lnTo>
                      <a:pt x="2256" y="4461"/>
                    </a:lnTo>
                    <a:lnTo>
                      <a:pt x="2410" y="4477"/>
                    </a:lnTo>
                    <a:lnTo>
                      <a:pt x="2516" y="4549"/>
                    </a:lnTo>
                    <a:lnTo>
                      <a:pt x="2693" y="4700"/>
                    </a:lnTo>
                    <a:lnTo>
                      <a:pt x="2843" y="4644"/>
                    </a:lnTo>
                    <a:lnTo>
                      <a:pt x="2961" y="4597"/>
                    </a:lnTo>
                    <a:lnTo>
                      <a:pt x="3067" y="4644"/>
                    </a:lnTo>
                    <a:lnTo>
                      <a:pt x="3177" y="4617"/>
                    </a:lnTo>
                    <a:lnTo>
                      <a:pt x="3284" y="4497"/>
                    </a:lnTo>
                    <a:lnTo>
                      <a:pt x="3320" y="4561"/>
                    </a:lnTo>
                    <a:lnTo>
                      <a:pt x="3293" y="4649"/>
                    </a:lnTo>
                    <a:lnTo>
                      <a:pt x="3209" y="4760"/>
                    </a:lnTo>
                    <a:lnTo>
                      <a:pt x="3272" y="4846"/>
                    </a:lnTo>
                    <a:lnTo>
                      <a:pt x="3425" y="4832"/>
                    </a:lnTo>
                    <a:lnTo>
                      <a:pt x="3553" y="4791"/>
                    </a:lnTo>
                    <a:lnTo>
                      <a:pt x="3544" y="4641"/>
                    </a:lnTo>
                    <a:lnTo>
                      <a:pt x="3551" y="4513"/>
                    </a:lnTo>
                    <a:lnTo>
                      <a:pt x="3610" y="4429"/>
                    </a:lnTo>
                    <a:lnTo>
                      <a:pt x="3614" y="4305"/>
                    </a:lnTo>
                    <a:lnTo>
                      <a:pt x="3752" y="4245"/>
                    </a:lnTo>
                    <a:lnTo>
                      <a:pt x="3823" y="4106"/>
                    </a:lnTo>
                    <a:lnTo>
                      <a:pt x="3953" y="3862"/>
                    </a:lnTo>
                    <a:lnTo>
                      <a:pt x="4099" y="3827"/>
                    </a:lnTo>
                    <a:lnTo>
                      <a:pt x="4213" y="3695"/>
                    </a:lnTo>
                    <a:lnTo>
                      <a:pt x="4288" y="3527"/>
                    </a:lnTo>
                    <a:lnTo>
                      <a:pt x="4453" y="3483"/>
                    </a:lnTo>
                    <a:lnTo>
                      <a:pt x="4536" y="3336"/>
                    </a:lnTo>
                    <a:lnTo>
                      <a:pt x="4544" y="3184"/>
                    </a:lnTo>
                    <a:lnTo>
                      <a:pt x="4618" y="3084"/>
                    </a:lnTo>
                    <a:lnTo>
                      <a:pt x="4626" y="2969"/>
                    </a:lnTo>
                    <a:lnTo>
                      <a:pt x="4725" y="2713"/>
                    </a:lnTo>
                    <a:lnTo>
                      <a:pt x="4796" y="2574"/>
                    </a:lnTo>
                    <a:lnTo>
                      <a:pt x="4701" y="2490"/>
                    </a:lnTo>
                    <a:lnTo>
                      <a:pt x="4744" y="2346"/>
                    </a:lnTo>
                    <a:lnTo>
                      <a:pt x="4709" y="1923"/>
                    </a:lnTo>
                    <a:lnTo>
                      <a:pt x="4851" y="1415"/>
                    </a:lnTo>
                    <a:lnTo>
                      <a:pt x="4961" y="1221"/>
                    </a:lnTo>
                    <a:lnTo>
                      <a:pt x="2725" y="1073"/>
                    </a:lnTo>
                    <a:lnTo>
                      <a:pt x="2126" y="1006"/>
                    </a:lnTo>
                    <a:lnTo>
                      <a:pt x="1937" y="834"/>
                    </a:lnTo>
                    <a:lnTo>
                      <a:pt x="1724" y="654"/>
                    </a:lnTo>
                    <a:lnTo>
                      <a:pt x="1732" y="491"/>
                    </a:lnTo>
                    <a:lnTo>
                      <a:pt x="1650" y="247"/>
                    </a:lnTo>
                    <a:lnTo>
                      <a:pt x="1496" y="0"/>
                    </a:lnTo>
                    <a:lnTo>
                      <a:pt x="1496" y="92"/>
                    </a:lnTo>
                    <a:lnTo>
                      <a:pt x="1370" y="714"/>
                    </a:lnTo>
                    <a:lnTo>
                      <a:pt x="45" y="718"/>
                    </a:lnTo>
                    <a:lnTo>
                      <a:pt x="42" y="833"/>
                    </a:lnTo>
                    <a:lnTo>
                      <a:pt x="0" y="947"/>
                    </a:lnTo>
                    <a:lnTo>
                      <a:pt x="71" y="1211"/>
                    </a:lnTo>
                    <a:lnTo>
                      <a:pt x="20" y="1317"/>
                    </a:lnTo>
                    <a:lnTo>
                      <a:pt x="47" y="1696"/>
                    </a:lnTo>
                    <a:lnTo>
                      <a:pt x="272" y="1699"/>
                    </a:lnTo>
                    <a:lnTo>
                      <a:pt x="506" y="1697"/>
                    </a:lnTo>
                    <a:lnTo>
                      <a:pt x="585" y="1759"/>
                    </a:lnTo>
                    <a:lnTo>
                      <a:pt x="719" y="1774"/>
                    </a:lnTo>
                    <a:lnTo>
                      <a:pt x="743" y="1891"/>
                    </a:lnTo>
                    <a:lnTo>
                      <a:pt x="651" y="1964"/>
                    </a:lnTo>
                    <a:lnTo>
                      <a:pt x="672" y="2072"/>
                    </a:lnTo>
                    <a:lnTo>
                      <a:pt x="744" y="2192"/>
                    </a:lnTo>
                    <a:lnTo>
                      <a:pt x="756" y="2359"/>
                    </a:lnTo>
                    <a:lnTo>
                      <a:pt x="684" y="2516"/>
                    </a:lnTo>
                    <a:lnTo>
                      <a:pt x="587" y="2584"/>
                    </a:lnTo>
                    <a:lnTo>
                      <a:pt x="508" y="2773"/>
                    </a:lnTo>
                    <a:lnTo>
                      <a:pt x="410" y="2812"/>
                    </a:lnTo>
                    <a:lnTo>
                      <a:pt x="375" y="290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5" name="Freeform 27">
                <a:extLst>
                  <a:ext uri="{FF2B5EF4-FFF2-40B4-BE49-F238E27FC236}">
                    <a16:creationId xmlns:a16="http://schemas.microsoft.com/office/drawing/2014/main" id="{4A15B1D0-8780-43CE-9620-3859519E59BA}"/>
                  </a:ext>
                </a:extLst>
              </p:cNvPr>
              <p:cNvSpPr>
                <a:spLocks/>
              </p:cNvSpPr>
              <p:nvPr/>
            </p:nvSpPr>
            <p:spPr bwMode="auto">
              <a:xfrm>
                <a:off x="1493" y="1016"/>
                <a:ext cx="1056" cy="1027"/>
              </a:xfrm>
              <a:custGeom>
                <a:avLst/>
                <a:gdLst/>
                <a:ahLst/>
                <a:cxnLst>
                  <a:cxn ang="0">
                    <a:pos x="0" y="883"/>
                  </a:cxn>
                  <a:cxn ang="0">
                    <a:pos x="147" y="793"/>
                  </a:cxn>
                  <a:cxn ang="0">
                    <a:pos x="364" y="584"/>
                  </a:cxn>
                  <a:cxn ang="0">
                    <a:pos x="615" y="539"/>
                  </a:cxn>
                  <a:cxn ang="0">
                    <a:pos x="911" y="379"/>
                  </a:cxn>
                  <a:cxn ang="0">
                    <a:pos x="1176" y="419"/>
                  </a:cxn>
                  <a:cxn ang="0">
                    <a:pos x="1654" y="449"/>
                  </a:cxn>
                  <a:cxn ang="0">
                    <a:pos x="1595" y="200"/>
                  </a:cxn>
                  <a:cxn ang="0">
                    <a:pos x="1816" y="125"/>
                  </a:cxn>
                  <a:cxn ang="0">
                    <a:pos x="2166" y="0"/>
                  </a:cxn>
                  <a:cxn ang="0">
                    <a:pos x="2334" y="464"/>
                  </a:cxn>
                  <a:cxn ang="0">
                    <a:pos x="2672" y="544"/>
                  </a:cxn>
                  <a:cxn ang="0">
                    <a:pos x="3066" y="778"/>
                  </a:cxn>
                  <a:cxn ang="0">
                    <a:pos x="3233" y="1063"/>
                  </a:cxn>
                  <a:cxn ang="0">
                    <a:pos x="3288" y="1472"/>
                  </a:cxn>
                  <a:cxn ang="0">
                    <a:pos x="3598" y="1981"/>
                  </a:cxn>
                  <a:cxn ang="0">
                    <a:pos x="3885" y="2106"/>
                  </a:cxn>
                  <a:cxn ang="0">
                    <a:pos x="3980" y="2308"/>
                  </a:cxn>
                  <a:cxn ang="0">
                    <a:pos x="4400" y="1996"/>
                  </a:cxn>
                  <a:cxn ang="0">
                    <a:pos x="4483" y="2250"/>
                  </a:cxn>
                  <a:cxn ang="0">
                    <a:pos x="4691" y="2485"/>
                  </a:cxn>
                  <a:cxn ang="0">
                    <a:pos x="4897" y="2530"/>
                  </a:cxn>
                  <a:cxn ang="0">
                    <a:pos x="5311" y="2485"/>
                  </a:cxn>
                  <a:cxn ang="0">
                    <a:pos x="5267" y="2774"/>
                  </a:cxn>
                  <a:cxn ang="0">
                    <a:pos x="5827" y="2066"/>
                  </a:cxn>
                  <a:cxn ang="0">
                    <a:pos x="6108" y="1846"/>
                  </a:cxn>
                  <a:cxn ang="0">
                    <a:pos x="6616" y="1981"/>
                  </a:cxn>
                  <a:cxn ang="0">
                    <a:pos x="7053" y="2101"/>
                  </a:cxn>
                  <a:cxn ang="0">
                    <a:pos x="6713" y="3263"/>
                  </a:cxn>
                  <a:cxn ang="0">
                    <a:pos x="6329" y="3867"/>
                  </a:cxn>
                  <a:cxn ang="0">
                    <a:pos x="5758" y="4351"/>
                  </a:cxn>
                  <a:cxn ang="0">
                    <a:pos x="5792" y="4492"/>
                  </a:cxn>
                  <a:cxn ang="0">
                    <a:pos x="5827" y="4691"/>
                  </a:cxn>
                  <a:cxn ang="0">
                    <a:pos x="5729" y="4970"/>
                  </a:cxn>
                  <a:cxn ang="0">
                    <a:pos x="5299" y="5320"/>
                  </a:cxn>
                  <a:cxn ang="0">
                    <a:pos x="5227" y="5702"/>
                  </a:cxn>
                  <a:cxn ang="0">
                    <a:pos x="5117" y="6363"/>
                  </a:cxn>
                  <a:cxn ang="0">
                    <a:pos x="4823" y="6662"/>
                  </a:cxn>
                  <a:cxn ang="0">
                    <a:pos x="1949" y="6765"/>
                  </a:cxn>
                  <a:cxn ang="0">
                    <a:pos x="694" y="6231"/>
                  </a:cxn>
                  <a:cxn ang="0">
                    <a:pos x="600" y="5732"/>
                  </a:cxn>
                  <a:cxn ang="0">
                    <a:pos x="276" y="5259"/>
                  </a:cxn>
                  <a:cxn ang="0">
                    <a:pos x="1092" y="2475"/>
                  </a:cxn>
                  <a:cxn ang="0">
                    <a:pos x="177" y="1861"/>
                  </a:cxn>
                  <a:cxn ang="0">
                    <a:pos x="89" y="1437"/>
                  </a:cxn>
                </a:cxnLst>
                <a:rect l="0" t="0" r="r" b="b"/>
                <a:pathLst>
                  <a:path w="7053" h="6948">
                    <a:moveTo>
                      <a:pt x="69" y="1321"/>
                    </a:moveTo>
                    <a:lnTo>
                      <a:pt x="0" y="883"/>
                    </a:lnTo>
                    <a:lnTo>
                      <a:pt x="40" y="768"/>
                    </a:lnTo>
                    <a:lnTo>
                      <a:pt x="147" y="793"/>
                    </a:lnTo>
                    <a:lnTo>
                      <a:pt x="305" y="739"/>
                    </a:lnTo>
                    <a:lnTo>
                      <a:pt x="364" y="584"/>
                    </a:lnTo>
                    <a:lnTo>
                      <a:pt x="516" y="634"/>
                    </a:lnTo>
                    <a:lnTo>
                      <a:pt x="615" y="539"/>
                    </a:lnTo>
                    <a:lnTo>
                      <a:pt x="782" y="499"/>
                    </a:lnTo>
                    <a:lnTo>
                      <a:pt x="911" y="379"/>
                    </a:lnTo>
                    <a:lnTo>
                      <a:pt x="1034" y="359"/>
                    </a:lnTo>
                    <a:lnTo>
                      <a:pt x="1176" y="419"/>
                    </a:lnTo>
                    <a:lnTo>
                      <a:pt x="1314" y="374"/>
                    </a:lnTo>
                    <a:lnTo>
                      <a:pt x="1654" y="449"/>
                    </a:lnTo>
                    <a:lnTo>
                      <a:pt x="1699" y="319"/>
                    </a:lnTo>
                    <a:lnTo>
                      <a:pt x="1595" y="200"/>
                    </a:lnTo>
                    <a:lnTo>
                      <a:pt x="1679" y="80"/>
                    </a:lnTo>
                    <a:lnTo>
                      <a:pt x="1816" y="125"/>
                    </a:lnTo>
                    <a:lnTo>
                      <a:pt x="2022" y="105"/>
                    </a:lnTo>
                    <a:lnTo>
                      <a:pt x="2166" y="0"/>
                    </a:lnTo>
                    <a:lnTo>
                      <a:pt x="2334" y="95"/>
                    </a:lnTo>
                    <a:lnTo>
                      <a:pt x="2334" y="464"/>
                    </a:lnTo>
                    <a:lnTo>
                      <a:pt x="2496" y="479"/>
                    </a:lnTo>
                    <a:lnTo>
                      <a:pt x="2672" y="544"/>
                    </a:lnTo>
                    <a:lnTo>
                      <a:pt x="2835" y="674"/>
                    </a:lnTo>
                    <a:lnTo>
                      <a:pt x="3066" y="778"/>
                    </a:lnTo>
                    <a:lnTo>
                      <a:pt x="3071" y="978"/>
                    </a:lnTo>
                    <a:lnTo>
                      <a:pt x="3233" y="1063"/>
                    </a:lnTo>
                    <a:lnTo>
                      <a:pt x="3205" y="1242"/>
                    </a:lnTo>
                    <a:lnTo>
                      <a:pt x="3288" y="1472"/>
                    </a:lnTo>
                    <a:lnTo>
                      <a:pt x="3455" y="1607"/>
                    </a:lnTo>
                    <a:lnTo>
                      <a:pt x="3598" y="1981"/>
                    </a:lnTo>
                    <a:lnTo>
                      <a:pt x="3731" y="2131"/>
                    </a:lnTo>
                    <a:lnTo>
                      <a:pt x="3885" y="2106"/>
                    </a:lnTo>
                    <a:lnTo>
                      <a:pt x="3868" y="2250"/>
                    </a:lnTo>
                    <a:lnTo>
                      <a:pt x="3980" y="2308"/>
                    </a:lnTo>
                    <a:lnTo>
                      <a:pt x="4205" y="2162"/>
                    </a:lnTo>
                    <a:lnTo>
                      <a:pt x="4400" y="1996"/>
                    </a:lnTo>
                    <a:lnTo>
                      <a:pt x="4482" y="2057"/>
                    </a:lnTo>
                    <a:lnTo>
                      <a:pt x="4483" y="2250"/>
                    </a:lnTo>
                    <a:lnTo>
                      <a:pt x="4562" y="2470"/>
                    </a:lnTo>
                    <a:lnTo>
                      <a:pt x="4691" y="2485"/>
                    </a:lnTo>
                    <a:lnTo>
                      <a:pt x="4739" y="2560"/>
                    </a:lnTo>
                    <a:lnTo>
                      <a:pt x="4897" y="2530"/>
                    </a:lnTo>
                    <a:lnTo>
                      <a:pt x="5074" y="2530"/>
                    </a:lnTo>
                    <a:lnTo>
                      <a:pt x="5311" y="2485"/>
                    </a:lnTo>
                    <a:lnTo>
                      <a:pt x="5192" y="2754"/>
                    </a:lnTo>
                    <a:lnTo>
                      <a:pt x="5267" y="2774"/>
                    </a:lnTo>
                    <a:lnTo>
                      <a:pt x="5562" y="2370"/>
                    </a:lnTo>
                    <a:lnTo>
                      <a:pt x="5827" y="2066"/>
                    </a:lnTo>
                    <a:lnTo>
                      <a:pt x="5961" y="1916"/>
                    </a:lnTo>
                    <a:lnTo>
                      <a:pt x="6108" y="1846"/>
                    </a:lnTo>
                    <a:lnTo>
                      <a:pt x="6374" y="1856"/>
                    </a:lnTo>
                    <a:lnTo>
                      <a:pt x="6616" y="1981"/>
                    </a:lnTo>
                    <a:lnTo>
                      <a:pt x="6921" y="2026"/>
                    </a:lnTo>
                    <a:lnTo>
                      <a:pt x="7053" y="2101"/>
                    </a:lnTo>
                    <a:lnTo>
                      <a:pt x="6954" y="2620"/>
                    </a:lnTo>
                    <a:lnTo>
                      <a:pt x="6713" y="3263"/>
                    </a:lnTo>
                    <a:lnTo>
                      <a:pt x="6566" y="3433"/>
                    </a:lnTo>
                    <a:lnTo>
                      <a:pt x="6329" y="3867"/>
                    </a:lnTo>
                    <a:lnTo>
                      <a:pt x="6123" y="4032"/>
                    </a:lnTo>
                    <a:lnTo>
                      <a:pt x="5758" y="4351"/>
                    </a:lnTo>
                    <a:lnTo>
                      <a:pt x="5577" y="4461"/>
                    </a:lnTo>
                    <a:lnTo>
                      <a:pt x="5792" y="4492"/>
                    </a:lnTo>
                    <a:lnTo>
                      <a:pt x="5902" y="4612"/>
                    </a:lnTo>
                    <a:lnTo>
                      <a:pt x="5827" y="4691"/>
                    </a:lnTo>
                    <a:lnTo>
                      <a:pt x="5844" y="4820"/>
                    </a:lnTo>
                    <a:lnTo>
                      <a:pt x="5729" y="4970"/>
                    </a:lnTo>
                    <a:lnTo>
                      <a:pt x="5534" y="5222"/>
                    </a:lnTo>
                    <a:lnTo>
                      <a:pt x="5299" y="5320"/>
                    </a:lnTo>
                    <a:lnTo>
                      <a:pt x="5297" y="5497"/>
                    </a:lnTo>
                    <a:lnTo>
                      <a:pt x="5227" y="5702"/>
                    </a:lnTo>
                    <a:lnTo>
                      <a:pt x="5339" y="5908"/>
                    </a:lnTo>
                    <a:lnTo>
                      <a:pt x="5117" y="6363"/>
                    </a:lnTo>
                    <a:lnTo>
                      <a:pt x="4976" y="6467"/>
                    </a:lnTo>
                    <a:lnTo>
                      <a:pt x="4823" y="6662"/>
                    </a:lnTo>
                    <a:lnTo>
                      <a:pt x="4739" y="6948"/>
                    </a:lnTo>
                    <a:lnTo>
                      <a:pt x="1949" y="6765"/>
                    </a:lnTo>
                    <a:lnTo>
                      <a:pt x="1206" y="6682"/>
                    </a:lnTo>
                    <a:lnTo>
                      <a:pt x="694" y="6231"/>
                    </a:lnTo>
                    <a:lnTo>
                      <a:pt x="704" y="6048"/>
                    </a:lnTo>
                    <a:lnTo>
                      <a:pt x="600" y="5732"/>
                    </a:lnTo>
                    <a:lnTo>
                      <a:pt x="414" y="5434"/>
                    </a:lnTo>
                    <a:lnTo>
                      <a:pt x="276" y="5259"/>
                    </a:lnTo>
                    <a:lnTo>
                      <a:pt x="1447" y="2799"/>
                    </a:lnTo>
                    <a:lnTo>
                      <a:pt x="1092" y="2475"/>
                    </a:lnTo>
                    <a:lnTo>
                      <a:pt x="487" y="2186"/>
                    </a:lnTo>
                    <a:lnTo>
                      <a:pt x="177" y="1861"/>
                    </a:lnTo>
                    <a:lnTo>
                      <a:pt x="54" y="1557"/>
                    </a:lnTo>
                    <a:lnTo>
                      <a:pt x="89" y="1437"/>
                    </a:lnTo>
                    <a:lnTo>
                      <a:pt x="69" y="1321"/>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6" name="Freeform 28">
                <a:extLst>
                  <a:ext uri="{FF2B5EF4-FFF2-40B4-BE49-F238E27FC236}">
                    <a16:creationId xmlns:a16="http://schemas.microsoft.com/office/drawing/2014/main" id="{20B1709A-1941-4B85-9C53-94CB666F60FB}"/>
                  </a:ext>
                </a:extLst>
              </p:cNvPr>
              <p:cNvSpPr>
                <a:spLocks/>
              </p:cNvSpPr>
              <p:nvPr/>
            </p:nvSpPr>
            <p:spPr bwMode="auto">
              <a:xfrm>
                <a:off x="1842" y="872"/>
                <a:ext cx="400" cy="459"/>
              </a:xfrm>
              <a:custGeom>
                <a:avLst/>
                <a:gdLst/>
                <a:ahLst/>
                <a:cxnLst>
                  <a:cxn ang="0">
                    <a:pos x="4" y="1069"/>
                  </a:cxn>
                  <a:cxn ang="0">
                    <a:pos x="134" y="1156"/>
                  </a:cxn>
                  <a:cxn ang="0">
                    <a:pos x="275" y="1247"/>
                  </a:cxn>
                  <a:cxn ang="0">
                    <a:pos x="526" y="1137"/>
                  </a:cxn>
                  <a:cxn ang="0">
                    <a:pos x="734" y="1167"/>
                  </a:cxn>
                  <a:cxn ang="0">
                    <a:pos x="881" y="1197"/>
                  </a:cxn>
                  <a:cxn ang="0">
                    <a:pos x="1014" y="1217"/>
                  </a:cxn>
                  <a:cxn ang="0">
                    <a:pos x="1211" y="1032"/>
                  </a:cxn>
                  <a:cxn ang="0">
                    <a:pos x="1206" y="942"/>
                  </a:cxn>
                  <a:cxn ang="0">
                    <a:pos x="1324" y="679"/>
                  </a:cxn>
                  <a:cxn ang="0">
                    <a:pos x="1698" y="110"/>
                  </a:cxn>
                  <a:cxn ang="0">
                    <a:pos x="1753" y="0"/>
                  </a:cxn>
                  <a:cxn ang="0">
                    <a:pos x="1915" y="95"/>
                  </a:cxn>
                  <a:cxn ang="0">
                    <a:pos x="1959" y="259"/>
                  </a:cxn>
                  <a:cxn ang="0">
                    <a:pos x="2023" y="289"/>
                  </a:cxn>
                  <a:cxn ang="0">
                    <a:pos x="2033" y="614"/>
                  </a:cxn>
                  <a:cxn ang="0">
                    <a:pos x="2165" y="1007"/>
                  </a:cxn>
                  <a:cxn ang="0">
                    <a:pos x="2259" y="1247"/>
                  </a:cxn>
                  <a:cxn ang="0">
                    <a:pos x="2388" y="1436"/>
                  </a:cxn>
                  <a:cxn ang="0">
                    <a:pos x="2550" y="1441"/>
                  </a:cxn>
                  <a:cxn ang="0">
                    <a:pos x="2668" y="1531"/>
                  </a:cxn>
                  <a:cxn ang="0">
                    <a:pos x="2673" y="1676"/>
                  </a:cxn>
                  <a:cxn ang="0">
                    <a:pos x="2584" y="1766"/>
                  </a:cxn>
                  <a:cxn ang="0">
                    <a:pos x="2658" y="1815"/>
                  </a:cxn>
                  <a:cxn ang="0">
                    <a:pos x="2452" y="1995"/>
                  </a:cxn>
                  <a:cxn ang="0">
                    <a:pos x="2254" y="2235"/>
                  </a:cxn>
                  <a:cxn ang="0">
                    <a:pos x="2087" y="2378"/>
                  </a:cxn>
                  <a:cxn ang="0">
                    <a:pos x="1920" y="2488"/>
                  </a:cxn>
                  <a:cxn ang="0">
                    <a:pos x="1817" y="2693"/>
                  </a:cxn>
                  <a:cxn ang="0">
                    <a:pos x="1770" y="2871"/>
                  </a:cxn>
                  <a:cxn ang="0">
                    <a:pos x="1553" y="3077"/>
                  </a:cxn>
                  <a:cxn ang="0">
                    <a:pos x="1403" y="3102"/>
                  </a:cxn>
                  <a:cxn ang="0">
                    <a:pos x="1268" y="2957"/>
                  </a:cxn>
                  <a:cxn ang="0">
                    <a:pos x="1123" y="2573"/>
                  </a:cxn>
                  <a:cxn ang="0">
                    <a:pos x="955" y="2443"/>
                  </a:cxn>
                  <a:cxn ang="0">
                    <a:pos x="871" y="2220"/>
                  </a:cxn>
                  <a:cxn ang="0">
                    <a:pos x="896" y="2035"/>
                  </a:cxn>
                  <a:cxn ang="0">
                    <a:pos x="739" y="1945"/>
                  </a:cxn>
                  <a:cxn ang="0">
                    <a:pos x="727" y="1742"/>
                  </a:cxn>
                  <a:cxn ang="0">
                    <a:pos x="502" y="1651"/>
                  </a:cxn>
                  <a:cxn ang="0">
                    <a:pos x="360" y="1529"/>
                  </a:cxn>
                  <a:cxn ang="0">
                    <a:pos x="169" y="1454"/>
                  </a:cxn>
                  <a:cxn ang="0">
                    <a:pos x="0" y="1436"/>
                  </a:cxn>
                  <a:cxn ang="0">
                    <a:pos x="4" y="1069"/>
                  </a:cxn>
                </a:cxnLst>
                <a:rect l="0" t="0" r="r" b="b"/>
                <a:pathLst>
                  <a:path w="2673" h="3102">
                    <a:moveTo>
                      <a:pt x="4" y="1069"/>
                    </a:moveTo>
                    <a:lnTo>
                      <a:pt x="134" y="1156"/>
                    </a:lnTo>
                    <a:lnTo>
                      <a:pt x="275" y="1247"/>
                    </a:lnTo>
                    <a:lnTo>
                      <a:pt x="526" y="1137"/>
                    </a:lnTo>
                    <a:lnTo>
                      <a:pt x="734" y="1167"/>
                    </a:lnTo>
                    <a:lnTo>
                      <a:pt x="881" y="1197"/>
                    </a:lnTo>
                    <a:lnTo>
                      <a:pt x="1014" y="1217"/>
                    </a:lnTo>
                    <a:lnTo>
                      <a:pt x="1211" y="1032"/>
                    </a:lnTo>
                    <a:lnTo>
                      <a:pt x="1206" y="942"/>
                    </a:lnTo>
                    <a:lnTo>
                      <a:pt x="1324" y="679"/>
                    </a:lnTo>
                    <a:lnTo>
                      <a:pt x="1698" y="110"/>
                    </a:lnTo>
                    <a:lnTo>
                      <a:pt x="1753" y="0"/>
                    </a:lnTo>
                    <a:lnTo>
                      <a:pt x="1915" y="95"/>
                    </a:lnTo>
                    <a:lnTo>
                      <a:pt x="1959" y="259"/>
                    </a:lnTo>
                    <a:lnTo>
                      <a:pt x="2023" y="289"/>
                    </a:lnTo>
                    <a:lnTo>
                      <a:pt x="2033" y="614"/>
                    </a:lnTo>
                    <a:lnTo>
                      <a:pt x="2165" y="1007"/>
                    </a:lnTo>
                    <a:lnTo>
                      <a:pt x="2259" y="1247"/>
                    </a:lnTo>
                    <a:lnTo>
                      <a:pt x="2388" y="1436"/>
                    </a:lnTo>
                    <a:lnTo>
                      <a:pt x="2550" y="1441"/>
                    </a:lnTo>
                    <a:lnTo>
                      <a:pt x="2668" y="1531"/>
                    </a:lnTo>
                    <a:lnTo>
                      <a:pt x="2673" y="1676"/>
                    </a:lnTo>
                    <a:lnTo>
                      <a:pt x="2584" y="1766"/>
                    </a:lnTo>
                    <a:lnTo>
                      <a:pt x="2658" y="1815"/>
                    </a:lnTo>
                    <a:lnTo>
                      <a:pt x="2452" y="1995"/>
                    </a:lnTo>
                    <a:lnTo>
                      <a:pt x="2254" y="2235"/>
                    </a:lnTo>
                    <a:lnTo>
                      <a:pt x="2087" y="2378"/>
                    </a:lnTo>
                    <a:lnTo>
                      <a:pt x="1920" y="2488"/>
                    </a:lnTo>
                    <a:lnTo>
                      <a:pt x="1817" y="2693"/>
                    </a:lnTo>
                    <a:lnTo>
                      <a:pt x="1770" y="2871"/>
                    </a:lnTo>
                    <a:lnTo>
                      <a:pt x="1553" y="3077"/>
                    </a:lnTo>
                    <a:lnTo>
                      <a:pt x="1403" y="3102"/>
                    </a:lnTo>
                    <a:lnTo>
                      <a:pt x="1268" y="2957"/>
                    </a:lnTo>
                    <a:lnTo>
                      <a:pt x="1123" y="2573"/>
                    </a:lnTo>
                    <a:lnTo>
                      <a:pt x="955" y="2443"/>
                    </a:lnTo>
                    <a:lnTo>
                      <a:pt x="871" y="2220"/>
                    </a:lnTo>
                    <a:lnTo>
                      <a:pt x="896" y="2035"/>
                    </a:lnTo>
                    <a:lnTo>
                      <a:pt x="739" y="1945"/>
                    </a:lnTo>
                    <a:lnTo>
                      <a:pt x="727" y="1742"/>
                    </a:lnTo>
                    <a:lnTo>
                      <a:pt x="502" y="1651"/>
                    </a:lnTo>
                    <a:lnTo>
                      <a:pt x="360" y="1529"/>
                    </a:lnTo>
                    <a:lnTo>
                      <a:pt x="169" y="1454"/>
                    </a:lnTo>
                    <a:lnTo>
                      <a:pt x="0" y="1436"/>
                    </a:lnTo>
                    <a:lnTo>
                      <a:pt x="4" y="106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7" name="Freeform 29">
                <a:extLst>
                  <a:ext uri="{FF2B5EF4-FFF2-40B4-BE49-F238E27FC236}">
                    <a16:creationId xmlns:a16="http://schemas.microsoft.com/office/drawing/2014/main" id="{69C16214-A1AB-49D2-A750-A4230B6E7FA6}"/>
                  </a:ext>
                </a:extLst>
              </p:cNvPr>
              <p:cNvSpPr>
                <a:spLocks/>
              </p:cNvSpPr>
              <p:nvPr/>
            </p:nvSpPr>
            <p:spPr bwMode="auto">
              <a:xfrm>
                <a:off x="2072" y="1236"/>
                <a:ext cx="289" cy="148"/>
              </a:xfrm>
              <a:custGeom>
                <a:avLst/>
                <a:gdLst/>
                <a:ahLst/>
                <a:cxnLst>
                  <a:cxn ang="0">
                    <a:pos x="1931" y="105"/>
                  </a:cxn>
                  <a:cxn ang="0">
                    <a:pos x="1700" y="120"/>
                  </a:cxn>
                  <a:cxn ang="0">
                    <a:pos x="1271" y="135"/>
                  </a:cxn>
                  <a:cxn ang="0">
                    <a:pos x="1060" y="40"/>
                  </a:cxn>
                  <a:cxn ang="0">
                    <a:pos x="839" y="55"/>
                  </a:cxn>
                  <a:cxn ang="0">
                    <a:pos x="740" y="190"/>
                  </a:cxn>
                  <a:cxn ang="0">
                    <a:pos x="735" y="309"/>
                  </a:cxn>
                  <a:cxn ang="0">
                    <a:pos x="632" y="359"/>
                  </a:cxn>
                  <a:cxn ang="0">
                    <a:pos x="484" y="389"/>
                  </a:cxn>
                  <a:cxn ang="0">
                    <a:pos x="519" y="299"/>
                  </a:cxn>
                  <a:cxn ang="0">
                    <a:pos x="607" y="240"/>
                  </a:cxn>
                  <a:cxn ang="0">
                    <a:pos x="710" y="45"/>
                  </a:cxn>
                  <a:cxn ang="0">
                    <a:pos x="588" y="0"/>
                  </a:cxn>
                  <a:cxn ang="0">
                    <a:pos x="514" y="120"/>
                  </a:cxn>
                  <a:cxn ang="0">
                    <a:pos x="416" y="279"/>
                  </a:cxn>
                  <a:cxn ang="0">
                    <a:pos x="281" y="242"/>
                  </a:cxn>
                  <a:cxn ang="0">
                    <a:pos x="234" y="410"/>
                  </a:cxn>
                  <a:cxn ang="0">
                    <a:pos x="18" y="617"/>
                  </a:cxn>
                  <a:cxn ang="0">
                    <a:pos x="0" y="763"/>
                  </a:cxn>
                  <a:cxn ang="0">
                    <a:pos x="110" y="821"/>
                  </a:cxn>
                  <a:cxn ang="0">
                    <a:pos x="327" y="683"/>
                  </a:cxn>
                  <a:cxn ang="0">
                    <a:pos x="533" y="508"/>
                  </a:cxn>
                  <a:cxn ang="0">
                    <a:pos x="614" y="572"/>
                  </a:cxn>
                  <a:cxn ang="0">
                    <a:pos x="617" y="757"/>
                  </a:cxn>
                  <a:cxn ang="0">
                    <a:pos x="695" y="982"/>
                  </a:cxn>
                  <a:cxn ang="0">
                    <a:pos x="829" y="997"/>
                  </a:cxn>
                  <a:cxn ang="0">
                    <a:pos x="1060" y="927"/>
                  </a:cxn>
                  <a:cxn ang="0">
                    <a:pos x="1198" y="1002"/>
                  </a:cxn>
                  <a:cxn ang="0">
                    <a:pos x="1405" y="877"/>
                  </a:cxn>
                  <a:cxn ang="0">
                    <a:pos x="1670" y="807"/>
                  </a:cxn>
                  <a:cxn ang="0">
                    <a:pos x="1832" y="538"/>
                  </a:cxn>
                  <a:cxn ang="0">
                    <a:pos x="1916" y="444"/>
                  </a:cxn>
                  <a:cxn ang="0">
                    <a:pos x="1921" y="314"/>
                  </a:cxn>
                  <a:cxn ang="0">
                    <a:pos x="1931" y="105"/>
                  </a:cxn>
                </a:cxnLst>
                <a:rect l="0" t="0" r="r" b="b"/>
                <a:pathLst>
                  <a:path w="1931" h="1002">
                    <a:moveTo>
                      <a:pt x="1931" y="105"/>
                    </a:moveTo>
                    <a:lnTo>
                      <a:pt x="1700" y="120"/>
                    </a:lnTo>
                    <a:lnTo>
                      <a:pt x="1271" y="135"/>
                    </a:lnTo>
                    <a:lnTo>
                      <a:pt x="1060" y="40"/>
                    </a:lnTo>
                    <a:lnTo>
                      <a:pt x="839" y="55"/>
                    </a:lnTo>
                    <a:lnTo>
                      <a:pt x="740" y="190"/>
                    </a:lnTo>
                    <a:lnTo>
                      <a:pt x="735" y="309"/>
                    </a:lnTo>
                    <a:lnTo>
                      <a:pt x="632" y="359"/>
                    </a:lnTo>
                    <a:lnTo>
                      <a:pt x="484" y="389"/>
                    </a:lnTo>
                    <a:lnTo>
                      <a:pt x="519" y="299"/>
                    </a:lnTo>
                    <a:lnTo>
                      <a:pt x="607" y="240"/>
                    </a:lnTo>
                    <a:lnTo>
                      <a:pt x="710" y="45"/>
                    </a:lnTo>
                    <a:lnTo>
                      <a:pt x="588" y="0"/>
                    </a:lnTo>
                    <a:lnTo>
                      <a:pt x="514" y="120"/>
                    </a:lnTo>
                    <a:lnTo>
                      <a:pt x="416" y="279"/>
                    </a:lnTo>
                    <a:lnTo>
                      <a:pt x="281" y="242"/>
                    </a:lnTo>
                    <a:lnTo>
                      <a:pt x="234" y="410"/>
                    </a:lnTo>
                    <a:lnTo>
                      <a:pt x="18" y="617"/>
                    </a:lnTo>
                    <a:lnTo>
                      <a:pt x="0" y="763"/>
                    </a:lnTo>
                    <a:lnTo>
                      <a:pt x="110" y="821"/>
                    </a:lnTo>
                    <a:lnTo>
                      <a:pt x="327" y="683"/>
                    </a:lnTo>
                    <a:lnTo>
                      <a:pt x="533" y="508"/>
                    </a:lnTo>
                    <a:lnTo>
                      <a:pt x="614" y="572"/>
                    </a:lnTo>
                    <a:lnTo>
                      <a:pt x="617" y="757"/>
                    </a:lnTo>
                    <a:lnTo>
                      <a:pt x="695" y="982"/>
                    </a:lnTo>
                    <a:lnTo>
                      <a:pt x="829" y="997"/>
                    </a:lnTo>
                    <a:lnTo>
                      <a:pt x="1060" y="927"/>
                    </a:lnTo>
                    <a:lnTo>
                      <a:pt x="1198" y="1002"/>
                    </a:lnTo>
                    <a:lnTo>
                      <a:pt x="1405" y="877"/>
                    </a:lnTo>
                    <a:lnTo>
                      <a:pt x="1670" y="807"/>
                    </a:lnTo>
                    <a:lnTo>
                      <a:pt x="1832" y="538"/>
                    </a:lnTo>
                    <a:lnTo>
                      <a:pt x="1916" y="444"/>
                    </a:lnTo>
                    <a:lnTo>
                      <a:pt x="1921" y="314"/>
                    </a:lnTo>
                    <a:lnTo>
                      <a:pt x="1931" y="105"/>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8" name="Freeform 30">
                <a:extLst>
                  <a:ext uri="{FF2B5EF4-FFF2-40B4-BE49-F238E27FC236}">
                    <a16:creationId xmlns:a16="http://schemas.microsoft.com/office/drawing/2014/main" id="{287C6316-A7E1-47CB-B76A-386045D4343E}"/>
                  </a:ext>
                </a:extLst>
              </p:cNvPr>
              <p:cNvSpPr>
                <a:spLocks/>
              </p:cNvSpPr>
              <p:nvPr/>
            </p:nvSpPr>
            <p:spPr bwMode="auto">
              <a:xfrm>
                <a:off x="1532" y="2641"/>
                <a:ext cx="572" cy="558"/>
              </a:xfrm>
              <a:custGeom>
                <a:avLst/>
                <a:gdLst/>
                <a:ahLst/>
                <a:cxnLst>
                  <a:cxn ang="0">
                    <a:pos x="303" y="298"/>
                  </a:cxn>
                  <a:cxn ang="0">
                    <a:pos x="409" y="543"/>
                  </a:cxn>
                  <a:cxn ang="0">
                    <a:pos x="305" y="721"/>
                  </a:cxn>
                  <a:cxn ang="0">
                    <a:pos x="216" y="1078"/>
                  </a:cxn>
                  <a:cxn ang="0">
                    <a:pos x="0" y="1411"/>
                  </a:cxn>
                  <a:cxn ang="0">
                    <a:pos x="56" y="1748"/>
                  </a:cxn>
                  <a:cxn ang="0">
                    <a:pos x="171" y="1998"/>
                  </a:cxn>
                  <a:cxn ang="0">
                    <a:pos x="191" y="2218"/>
                  </a:cxn>
                  <a:cxn ang="0">
                    <a:pos x="119" y="2425"/>
                  </a:cxn>
                  <a:cxn ang="0">
                    <a:pos x="74" y="2678"/>
                  </a:cxn>
                  <a:cxn ang="0">
                    <a:pos x="261" y="2723"/>
                  </a:cxn>
                  <a:cxn ang="0">
                    <a:pos x="399" y="2698"/>
                  </a:cxn>
                  <a:cxn ang="0">
                    <a:pos x="709" y="2798"/>
                  </a:cxn>
                  <a:cxn ang="0">
                    <a:pos x="856" y="2698"/>
                  </a:cxn>
                  <a:cxn ang="0">
                    <a:pos x="955" y="2753"/>
                  </a:cxn>
                  <a:cxn ang="0">
                    <a:pos x="1181" y="2783"/>
                  </a:cxn>
                  <a:cxn ang="0">
                    <a:pos x="1283" y="3035"/>
                  </a:cxn>
                  <a:cxn ang="0">
                    <a:pos x="1255" y="3156"/>
                  </a:cxn>
                  <a:cxn ang="0">
                    <a:pos x="1310" y="3381"/>
                  </a:cxn>
                  <a:cxn ang="0">
                    <a:pos x="1338" y="3665"/>
                  </a:cxn>
                  <a:cxn ang="0">
                    <a:pos x="1412" y="3725"/>
                  </a:cxn>
                  <a:cxn ang="0">
                    <a:pos x="1625" y="3685"/>
                  </a:cxn>
                  <a:cxn ang="0">
                    <a:pos x="1801" y="3680"/>
                  </a:cxn>
                  <a:cxn ang="0">
                    <a:pos x="1905" y="3775"/>
                  </a:cxn>
                  <a:cxn ang="0">
                    <a:pos x="2067" y="3655"/>
                  </a:cxn>
                  <a:cxn ang="0">
                    <a:pos x="2126" y="3456"/>
                  </a:cxn>
                  <a:cxn ang="0">
                    <a:pos x="2224" y="3356"/>
                  </a:cxn>
                  <a:cxn ang="0">
                    <a:pos x="2347" y="3116"/>
                  </a:cxn>
                  <a:cxn ang="0">
                    <a:pos x="2688" y="2935"/>
                  </a:cxn>
                  <a:cxn ang="0">
                    <a:pos x="2968" y="2723"/>
                  </a:cxn>
                  <a:cxn ang="0">
                    <a:pos x="3199" y="2384"/>
                  </a:cxn>
                  <a:cxn ang="0">
                    <a:pos x="3469" y="1890"/>
                  </a:cxn>
                  <a:cxn ang="0">
                    <a:pos x="3780" y="1568"/>
                  </a:cxn>
                  <a:cxn ang="0">
                    <a:pos x="3750" y="1426"/>
                  </a:cxn>
                  <a:cxn ang="0">
                    <a:pos x="3819" y="1261"/>
                  </a:cxn>
                  <a:cxn ang="0">
                    <a:pos x="3325" y="1025"/>
                  </a:cxn>
                  <a:cxn ang="0">
                    <a:pos x="3130" y="858"/>
                  </a:cxn>
                  <a:cxn ang="0">
                    <a:pos x="2875" y="870"/>
                  </a:cxn>
                  <a:cxn ang="0">
                    <a:pos x="2818" y="793"/>
                  </a:cxn>
                  <a:cxn ang="0">
                    <a:pos x="2878" y="665"/>
                  </a:cxn>
                  <a:cxn ang="0">
                    <a:pos x="2778" y="610"/>
                  </a:cxn>
                  <a:cxn ang="0">
                    <a:pos x="2713" y="413"/>
                  </a:cxn>
                  <a:cxn ang="0">
                    <a:pos x="2551" y="465"/>
                  </a:cxn>
                  <a:cxn ang="0">
                    <a:pos x="2358" y="480"/>
                  </a:cxn>
                  <a:cxn ang="0">
                    <a:pos x="2283" y="375"/>
                  </a:cxn>
                  <a:cxn ang="0">
                    <a:pos x="2386" y="238"/>
                  </a:cxn>
                  <a:cxn ang="0">
                    <a:pos x="2422" y="129"/>
                  </a:cxn>
                  <a:cxn ang="0">
                    <a:pos x="2376" y="45"/>
                  </a:cxn>
                  <a:cxn ang="0">
                    <a:pos x="2243" y="194"/>
                  </a:cxn>
                  <a:cxn ang="0">
                    <a:pos x="2107" y="230"/>
                  </a:cxn>
                  <a:cxn ang="0">
                    <a:pos x="1977" y="170"/>
                  </a:cxn>
                  <a:cxn ang="0">
                    <a:pos x="1638" y="299"/>
                  </a:cxn>
                  <a:cxn ang="0">
                    <a:pos x="1430" y="119"/>
                  </a:cxn>
                  <a:cxn ang="0">
                    <a:pos x="1286" y="20"/>
                  </a:cxn>
                  <a:cxn ang="0">
                    <a:pos x="1087" y="0"/>
                  </a:cxn>
                  <a:cxn ang="0">
                    <a:pos x="933" y="75"/>
                  </a:cxn>
                  <a:cxn ang="0">
                    <a:pos x="782" y="80"/>
                  </a:cxn>
                  <a:cxn ang="0">
                    <a:pos x="620" y="299"/>
                  </a:cxn>
                  <a:cxn ang="0">
                    <a:pos x="442" y="349"/>
                  </a:cxn>
                  <a:cxn ang="0">
                    <a:pos x="303" y="298"/>
                  </a:cxn>
                </a:cxnLst>
                <a:rect l="0" t="0" r="r" b="b"/>
                <a:pathLst>
                  <a:path w="3819" h="3775">
                    <a:moveTo>
                      <a:pt x="303" y="298"/>
                    </a:moveTo>
                    <a:lnTo>
                      <a:pt x="409" y="543"/>
                    </a:lnTo>
                    <a:lnTo>
                      <a:pt x="305" y="721"/>
                    </a:lnTo>
                    <a:lnTo>
                      <a:pt x="216" y="1078"/>
                    </a:lnTo>
                    <a:lnTo>
                      <a:pt x="0" y="1411"/>
                    </a:lnTo>
                    <a:lnTo>
                      <a:pt x="56" y="1748"/>
                    </a:lnTo>
                    <a:lnTo>
                      <a:pt x="171" y="1998"/>
                    </a:lnTo>
                    <a:lnTo>
                      <a:pt x="191" y="2218"/>
                    </a:lnTo>
                    <a:lnTo>
                      <a:pt x="119" y="2425"/>
                    </a:lnTo>
                    <a:lnTo>
                      <a:pt x="74" y="2678"/>
                    </a:lnTo>
                    <a:lnTo>
                      <a:pt x="261" y="2723"/>
                    </a:lnTo>
                    <a:lnTo>
                      <a:pt x="399" y="2698"/>
                    </a:lnTo>
                    <a:lnTo>
                      <a:pt x="709" y="2798"/>
                    </a:lnTo>
                    <a:lnTo>
                      <a:pt x="856" y="2698"/>
                    </a:lnTo>
                    <a:lnTo>
                      <a:pt x="955" y="2753"/>
                    </a:lnTo>
                    <a:lnTo>
                      <a:pt x="1181" y="2783"/>
                    </a:lnTo>
                    <a:lnTo>
                      <a:pt x="1283" y="3035"/>
                    </a:lnTo>
                    <a:lnTo>
                      <a:pt x="1255" y="3156"/>
                    </a:lnTo>
                    <a:lnTo>
                      <a:pt x="1310" y="3381"/>
                    </a:lnTo>
                    <a:lnTo>
                      <a:pt x="1338" y="3665"/>
                    </a:lnTo>
                    <a:lnTo>
                      <a:pt x="1412" y="3725"/>
                    </a:lnTo>
                    <a:lnTo>
                      <a:pt x="1625" y="3685"/>
                    </a:lnTo>
                    <a:lnTo>
                      <a:pt x="1801" y="3680"/>
                    </a:lnTo>
                    <a:lnTo>
                      <a:pt x="1905" y="3775"/>
                    </a:lnTo>
                    <a:lnTo>
                      <a:pt x="2067" y="3655"/>
                    </a:lnTo>
                    <a:lnTo>
                      <a:pt x="2126" y="3456"/>
                    </a:lnTo>
                    <a:lnTo>
                      <a:pt x="2224" y="3356"/>
                    </a:lnTo>
                    <a:lnTo>
                      <a:pt x="2347" y="3116"/>
                    </a:lnTo>
                    <a:lnTo>
                      <a:pt x="2688" y="2935"/>
                    </a:lnTo>
                    <a:lnTo>
                      <a:pt x="2968" y="2723"/>
                    </a:lnTo>
                    <a:lnTo>
                      <a:pt x="3199" y="2384"/>
                    </a:lnTo>
                    <a:lnTo>
                      <a:pt x="3469" y="1890"/>
                    </a:lnTo>
                    <a:lnTo>
                      <a:pt x="3780" y="1568"/>
                    </a:lnTo>
                    <a:lnTo>
                      <a:pt x="3750" y="1426"/>
                    </a:lnTo>
                    <a:lnTo>
                      <a:pt x="3819" y="1261"/>
                    </a:lnTo>
                    <a:lnTo>
                      <a:pt x="3325" y="1025"/>
                    </a:lnTo>
                    <a:lnTo>
                      <a:pt x="3130" y="858"/>
                    </a:lnTo>
                    <a:lnTo>
                      <a:pt x="2875" y="870"/>
                    </a:lnTo>
                    <a:lnTo>
                      <a:pt x="2818" y="793"/>
                    </a:lnTo>
                    <a:lnTo>
                      <a:pt x="2878" y="665"/>
                    </a:lnTo>
                    <a:lnTo>
                      <a:pt x="2778" y="610"/>
                    </a:lnTo>
                    <a:lnTo>
                      <a:pt x="2713" y="413"/>
                    </a:lnTo>
                    <a:lnTo>
                      <a:pt x="2551" y="465"/>
                    </a:lnTo>
                    <a:lnTo>
                      <a:pt x="2358" y="480"/>
                    </a:lnTo>
                    <a:lnTo>
                      <a:pt x="2283" y="375"/>
                    </a:lnTo>
                    <a:lnTo>
                      <a:pt x="2386" y="238"/>
                    </a:lnTo>
                    <a:lnTo>
                      <a:pt x="2422" y="129"/>
                    </a:lnTo>
                    <a:lnTo>
                      <a:pt x="2376" y="45"/>
                    </a:lnTo>
                    <a:lnTo>
                      <a:pt x="2243" y="194"/>
                    </a:lnTo>
                    <a:lnTo>
                      <a:pt x="2107" y="230"/>
                    </a:lnTo>
                    <a:lnTo>
                      <a:pt x="1977" y="170"/>
                    </a:lnTo>
                    <a:lnTo>
                      <a:pt x="1638" y="299"/>
                    </a:lnTo>
                    <a:lnTo>
                      <a:pt x="1430" y="119"/>
                    </a:lnTo>
                    <a:lnTo>
                      <a:pt x="1286" y="20"/>
                    </a:lnTo>
                    <a:lnTo>
                      <a:pt x="1087" y="0"/>
                    </a:lnTo>
                    <a:lnTo>
                      <a:pt x="933" y="75"/>
                    </a:lnTo>
                    <a:lnTo>
                      <a:pt x="782" y="80"/>
                    </a:lnTo>
                    <a:lnTo>
                      <a:pt x="620" y="299"/>
                    </a:lnTo>
                    <a:lnTo>
                      <a:pt x="442" y="349"/>
                    </a:lnTo>
                    <a:lnTo>
                      <a:pt x="303" y="298"/>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9" name="Freeform 31">
                <a:extLst>
                  <a:ext uri="{FF2B5EF4-FFF2-40B4-BE49-F238E27FC236}">
                    <a16:creationId xmlns:a16="http://schemas.microsoft.com/office/drawing/2014/main" id="{E64A5B25-92DE-4B1B-88EE-CF77A422C59A}"/>
                  </a:ext>
                </a:extLst>
              </p:cNvPr>
              <p:cNvSpPr>
                <a:spLocks/>
              </p:cNvSpPr>
              <p:nvPr/>
            </p:nvSpPr>
            <p:spPr bwMode="auto">
              <a:xfrm>
                <a:off x="1935" y="2858"/>
                <a:ext cx="685" cy="447"/>
              </a:xfrm>
              <a:custGeom>
                <a:avLst/>
                <a:gdLst/>
                <a:ahLst/>
                <a:cxnLst>
                  <a:cxn ang="0">
                    <a:pos x="153" y="1225"/>
                  </a:cxn>
                  <a:cxn ang="0">
                    <a:pos x="614" y="1281"/>
                  </a:cxn>
                  <a:cxn ang="0">
                    <a:pos x="1201" y="1401"/>
                  </a:cxn>
                  <a:cxn ang="0">
                    <a:pos x="1311" y="1712"/>
                  </a:cxn>
                  <a:cxn ang="0">
                    <a:pos x="1451" y="2035"/>
                  </a:cxn>
                  <a:cxn ang="0">
                    <a:pos x="1495" y="2169"/>
                  </a:cxn>
                  <a:cxn ang="0">
                    <a:pos x="1667" y="2277"/>
                  </a:cxn>
                  <a:cxn ang="0">
                    <a:pos x="1781" y="2279"/>
                  </a:cxn>
                  <a:cxn ang="0">
                    <a:pos x="1878" y="2422"/>
                  </a:cxn>
                  <a:cxn ang="0">
                    <a:pos x="2327" y="2095"/>
                  </a:cxn>
                  <a:cxn ang="0">
                    <a:pos x="2807" y="1812"/>
                  </a:cxn>
                  <a:cxn ang="0">
                    <a:pos x="3056" y="1764"/>
                  </a:cxn>
                  <a:cxn ang="0">
                    <a:pos x="3256" y="1656"/>
                  </a:cxn>
                  <a:cxn ang="0">
                    <a:pos x="3390" y="1620"/>
                  </a:cxn>
                  <a:cxn ang="0">
                    <a:pos x="3374" y="1520"/>
                  </a:cxn>
                  <a:cxn ang="0">
                    <a:pos x="3599" y="1524"/>
                  </a:cxn>
                  <a:cxn ang="0">
                    <a:pos x="3603" y="1381"/>
                  </a:cxn>
                  <a:cxn ang="0">
                    <a:pos x="3426" y="1293"/>
                  </a:cxn>
                  <a:cxn ang="0">
                    <a:pos x="3115" y="1305"/>
                  </a:cxn>
                  <a:cxn ang="0">
                    <a:pos x="2895" y="1393"/>
                  </a:cxn>
                  <a:cxn ang="0">
                    <a:pos x="2671" y="1357"/>
                  </a:cxn>
                  <a:cxn ang="0">
                    <a:pos x="2585" y="1187"/>
                  </a:cxn>
                  <a:cxn ang="0">
                    <a:pos x="2701" y="806"/>
                  </a:cxn>
                  <a:cxn ang="0">
                    <a:pos x="2465" y="731"/>
                  </a:cxn>
                  <a:cxn ang="0">
                    <a:pos x="2483" y="409"/>
                  </a:cxn>
                  <a:cxn ang="0">
                    <a:pos x="2327" y="112"/>
                  </a:cxn>
                  <a:cxn ang="0">
                    <a:pos x="1973" y="156"/>
                  </a:cxn>
                  <a:cxn ang="0">
                    <a:pos x="1618" y="219"/>
                  </a:cxn>
                  <a:cxn ang="0">
                    <a:pos x="1272" y="52"/>
                  </a:cxn>
                  <a:cxn ang="0">
                    <a:pos x="874" y="84"/>
                  </a:cxn>
                  <a:cxn ang="0">
                    <a:pos x="407" y="740"/>
                  </a:cxn>
                  <a:cxn ang="0">
                    <a:pos x="0" y="1177"/>
                  </a:cxn>
                </a:cxnLst>
                <a:rect l="0" t="0" r="r" b="b"/>
                <a:pathLst>
                  <a:path w="3661" h="2422">
                    <a:moveTo>
                      <a:pt x="0" y="1177"/>
                    </a:moveTo>
                    <a:lnTo>
                      <a:pt x="153" y="1225"/>
                    </a:lnTo>
                    <a:lnTo>
                      <a:pt x="343" y="1185"/>
                    </a:lnTo>
                    <a:lnTo>
                      <a:pt x="614" y="1281"/>
                    </a:lnTo>
                    <a:lnTo>
                      <a:pt x="803" y="1389"/>
                    </a:lnTo>
                    <a:lnTo>
                      <a:pt x="1201" y="1401"/>
                    </a:lnTo>
                    <a:lnTo>
                      <a:pt x="1333" y="1577"/>
                    </a:lnTo>
                    <a:lnTo>
                      <a:pt x="1311" y="1712"/>
                    </a:lnTo>
                    <a:lnTo>
                      <a:pt x="1390" y="1895"/>
                    </a:lnTo>
                    <a:lnTo>
                      <a:pt x="1451" y="2035"/>
                    </a:lnTo>
                    <a:lnTo>
                      <a:pt x="1407" y="2119"/>
                    </a:lnTo>
                    <a:lnTo>
                      <a:pt x="1495" y="2169"/>
                    </a:lnTo>
                    <a:lnTo>
                      <a:pt x="1731" y="2191"/>
                    </a:lnTo>
                    <a:lnTo>
                      <a:pt x="1667" y="2277"/>
                    </a:lnTo>
                    <a:lnTo>
                      <a:pt x="1691" y="2333"/>
                    </a:lnTo>
                    <a:lnTo>
                      <a:pt x="1781" y="2279"/>
                    </a:lnTo>
                    <a:lnTo>
                      <a:pt x="1839" y="2395"/>
                    </a:lnTo>
                    <a:lnTo>
                      <a:pt x="1878" y="2422"/>
                    </a:lnTo>
                    <a:lnTo>
                      <a:pt x="2099" y="2215"/>
                    </a:lnTo>
                    <a:lnTo>
                      <a:pt x="2327" y="2095"/>
                    </a:lnTo>
                    <a:lnTo>
                      <a:pt x="2465" y="1967"/>
                    </a:lnTo>
                    <a:lnTo>
                      <a:pt x="2807" y="1812"/>
                    </a:lnTo>
                    <a:lnTo>
                      <a:pt x="3000" y="1835"/>
                    </a:lnTo>
                    <a:lnTo>
                      <a:pt x="3056" y="1764"/>
                    </a:lnTo>
                    <a:lnTo>
                      <a:pt x="3174" y="1704"/>
                    </a:lnTo>
                    <a:lnTo>
                      <a:pt x="3256" y="1656"/>
                    </a:lnTo>
                    <a:lnTo>
                      <a:pt x="3367" y="1664"/>
                    </a:lnTo>
                    <a:lnTo>
                      <a:pt x="3390" y="1620"/>
                    </a:lnTo>
                    <a:lnTo>
                      <a:pt x="3339" y="1580"/>
                    </a:lnTo>
                    <a:lnTo>
                      <a:pt x="3374" y="1520"/>
                    </a:lnTo>
                    <a:lnTo>
                      <a:pt x="3493" y="1464"/>
                    </a:lnTo>
                    <a:lnTo>
                      <a:pt x="3599" y="1524"/>
                    </a:lnTo>
                    <a:lnTo>
                      <a:pt x="3661" y="1485"/>
                    </a:lnTo>
                    <a:lnTo>
                      <a:pt x="3603" y="1381"/>
                    </a:lnTo>
                    <a:lnTo>
                      <a:pt x="3516" y="1317"/>
                    </a:lnTo>
                    <a:lnTo>
                      <a:pt x="3426" y="1293"/>
                    </a:lnTo>
                    <a:lnTo>
                      <a:pt x="3343" y="1213"/>
                    </a:lnTo>
                    <a:lnTo>
                      <a:pt x="3115" y="1305"/>
                    </a:lnTo>
                    <a:lnTo>
                      <a:pt x="2961" y="1283"/>
                    </a:lnTo>
                    <a:lnTo>
                      <a:pt x="2895" y="1393"/>
                    </a:lnTo>
                    <a:lnTo>
                      <a:pt x="2773" y="1423"/>
                    </a:lnTo>
                    <a:lnTo>
                      <a:pt x="2671" y="1357"/>
                    </a:lnTo>
                    <a:lnTo>
                      <a:pt x="2681" y="1269"/>
                    </a:lnTo>
                    <a:lnTo>
                      <a:pt x="2585" y="1187"/>
                    </a:lnTo>
                    <a:lnTo>
                      <a:pt x="2622" y="902"/>
                    </a:lnTo>
                    <a:lnTo>
                      <a:pt x="2701" y="806"/>
                    </a:lnTo>
                    <a:lnTo>
                      <a:pt x="2642" y="742"/>
                    </a:lnTo>
                    <a:lnTo>
                      <a:pt x="2465" y="731"/>
                    </a:lnTo>
                    <a:lnTo>
                      <a:pt x="2406" y="515"/>
                    </a:lnTo>
                    <a:lnTo>
                      <a:pt x="2483" y="409"/>
                    </a:lnTo>
                    <a:lnTo>
                      <a:pt x="2406" y="203"/>
                    </a:lnTo>
                    <a:lnTo>
                      <a:pt x="2327" y="112"/>
                    </a:lnTo>
                    <a:lnTo>
                      <a:pt x="2181" y="132"/>
                    </a:lnTo>
                    <a:lnTo>
                      <a:pt x="1973" y="156"/>
                    </a:lnTo>
                    <a:lnTo>
                      <a:pt x="1784" y="156"/>
                    </a:lnTo>
                    <a:lnTo>
                      <a:pt x="1618" y="219"/>
                    </a:lnTo>
                    <a:lnTo>
                      <a:pt x="1508" y="60"/>
                    </a:lnTo>
                    <a:lnTo>
                      <a:pt x="1272" y="52"/>
                    </a:lnTo>
                    <a:lnTo>
                      <a:pt x="1051" y="0"/>
                    </a:lnTo>
                    <a:lnTo>
                      <a:pt x="874" y="84"/>
                    </a:lnTo>
                    <a:lnTo>
                      <a:pt x="622" y="344"/>
                    </a:lnTo>
                    <a:lnTo>
                      <a:pt x="407" y="740"/>
                    </a:lnTo>
                    <a:lnTo>
                      <a:pt x="223" y="1007"/>
                    </a:lnTo>
                    <a:lnTo>
                      <a:pt x="0" y="1177"/>
                    </a:lnTo>
                    <a:close/>
                  </a:path>
                </a:pathLst>
              </a:custGeom>
              <a:solidFill>
                <a:srgbClr val="F5B90F"/>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0" name="Freeform 32">
                <a:extLst>
                  <a:ext uri="{FF2B5EF4-FFF2-40B4-BE49-F238E27FC236}">
                    <a16:creationId xmlns:a16="http://schemas.microsoft.com/office/drawing/2014/main" id="{6E652E34-EE64-47CF-A5FA-505F2D3383C8}"/>
                  </a:ext>
                </a:extLst>
              </p:cNvPr>
              <p:cNvSpPr>
                <a:spLocks/>
              </p:cNvSpPr>
              <p:nvPr/>
            </p:nvSpPr>
            <p:spPr bwMode="auto">
              <a:xfrm>
                <a:off x="1787" y="3075"/>
                <a:ext cx="492" cy="343"/>
              </a:xfrm>
              <a:custGeom>
                <a:avLst/>
                <a:gdLst/>
                <a:ahLst/>
                <a:cxnLst>
                  <a:cxn ang="0">
                    <a:pos x="203" y="839"/>
                  </a:cxn>
                  <a:cxn ang="0">
                    <a:pos x="173" y="954"/>
                  </a:cxn>
                  <a:cxn ang="0">
                    <a:pos x="290" y="1004"/>
                  </a:cxn>
                  <a:cxn ang="0">
                    <a:pos x="246" y="1119"/>
                  </a:cxn>
                  <a:cxn ang="0">
                    <a:pos x="266" y="1244"/>
                  </a:cxn>
                  <a:cxn ang="0">
                    <a:pos x="206" y="1359"/>
                  </a:cxn>
                  <a:cxn ang="0">
                    <a:pos x="241" y="1448"/>
                  </a:cxn>
                  <a:cxn ang="0">
                    <a:pos x="94" y="1542"/>
                  </a:cxn>
                  <a:cxn ang="0">
                    <a:pos x="0" y="1587"/>
                  </a:cxn>
                  <a:cxn ang="0">
                    <a:pos x="0" y="1707"/>
                  </a:cxn>
                  <a:cxn ang="0">
                    <a:pos x="94" y="1722"/>
                  </a:cxn>
                  <a:cxn ang="0">
                    <a:pos x="236" y="1632"/>
                  </a:cxn>
                  <a:cxn ang="0">
                    <a:pos x="384" y="1717"/>
                  </a:cxn>
                  <a:cxn ang="0">
                    <a:pos x="399" y="1897"/>
                  </a:cxn>
                  <a:cxn ang="0">
                    <a:pos x="455" y="2045"/>
                  </a:cxn>
                  <a:cxn ang="0">
                    <a:pos x="718" y="2058"/>
                  </a:cxn>
                  <a:cxn ang="0">
                    <a:pos x="1170" y="2150"/>
                  </a:cxn>
                  <a:cxn ang="0">
                    <a:pos x="1590" y="2320"/>
                  </a:cxn>
                  <a:cxn ang="0">
                    <a:pos x="1703" y="2255"/>
                  </a:cxn>
                  <a:cxn ang="0">
                    <a:pos x="1693" y="2180"/>
                  </a:cxn>
                  <a:cxn ang="0">
                    <a:pos x="1728" y="2080"/>
                  </a:cxn>
                  <a:cxn ang="0">
                    <a:pos x="1885" y="2060"/>
                  </a:cxn>
                  <a:cxn ang="0">
                    <a:pos x="2038" y="1977"/>
                  </a:cxn>
                  <a:cxn ang="0">
                    <a:pos x="2254" y="1957"/>
                  </a:cxn>
                  <a:cxn ang="0">
                    <a:pos x="2452" y="2045"/>
                  </a:cxn>
                  <a:cxn ang="0">
                    <a:pos x="2622" y="2043"/>
                  </a:cxn>
                  <a:cxn ang="0">
                    <a:pos x="2737" y="1956"/>
                  </a:cxn>
                  <a:cxn ang="0">
                    <a:pos x="2919" y="1942"/>
                  </a:cxn>
                  <a:cxn ang="0">
                    <a:pos x="2994" y="2017"/>
                  </a:cxn>
                  <a:cxn ang="0">
                    <a:pos x="3140" y="1767"/>
                  </a:cxn>
                  <a:cxn ang="0">
                    <a:pos x="3037" y="1722"/>
                  </a:cxn>
                  <a:cxn ang="0">
                    <a:pos x="3013" y="1642"/>
                  </a:cxn>
                  <a:cxn ang="0">
                    <a:pos x="3140" y="1642"/>
                  </a:cxn>
                  <a:cxn ang="0">
                    <a:pos x="3184" y="1572"/>
                  </a:cxn>
                  <a:cxn ang="0">
                    <a:pos x="3288" y="1524"/>
                  </a:cxn>
                  <a:cxn ang="0">
                    <a:pos x="3216" y="1380"/>
                  </a:cxn>
                  <a:cxn ang="0">
                    <a:pos x="3105" y="1446"/>
                  </a:cxn>
                  <a:cxn ang="0">
                    <a:pos x="3072" y="1379"/>
                  </a:cxn>
                  <a:cxn ang="0">
                    <a:pos x="3155" y="1269"/>
                  </a:cxn>
                  <a:cxn ang="0">
                    <a:pos x="2862" y="1243"/>
                  </a:cxn>
                  <a:cxn ang="0">
                    <a:pos x="2747" y="1179"/>
                  </a:cxn>
                  <a:cxn ang="0">
                    <a:pos x="2805" y="1074"/>
                  </a:cxn>
                  <a:cxn ang="0">
                    <a:pos x="2628" y="671"/>
                  </a:cxn>
                  <a:cxn ang="0">
                    <a:pos x="2658" y="506"/>
                  </a:cxn>
                  <a:cxn ang="0">
                    <a:pos x="2490" y="282"/>
                  </a:cxn>
                  <a:cxn ang="0">
                    <a:pos x="1989" y="267"/>
                  </a:cxn>
                  <a:cxn ang="0">
                    <a:pos x="1753" y="132"/>
                  </a:cxn>
                  <a:cxn ang="0">
                    <a:pos x="1418" y="12"/>
                  </a:cxn>
                  <a:cxn ang="0">
                    <a:pos x="1176" y="62"/>
                  </a:cxn>
                  <a:cxn ang="0">
                    <a:pos x="988" y="0"/>
                  </a:cxn>
                  <a:cxn ang="0">
                    <a:pos x="650" y="182"/>
                  </a:cxn>
                  <a:cxn ang="0">
                    <a:pos x="533" y="412"/>
                  </a:cxn>
                  <a:cxn ang="0">
                    <a:pos x="424" y="527"/>
                  </a:cxn>
                  <a:cxn ang="0">
                    <a:pos x="369" y="718"/>
                  </a:cxn>
                  <a:cxn ang="0">
                    <a:pos x="203" y="839"/>
                  </a:cxn>
                </a:cxnLst>
                <a:rect l="0" t="0" r="r" b="b"/>
                <a:pathLst>
                  <a:path w="3288" h="2320">
                    <a:moveTo>
                      <a:pt x="203" y="839"/>
                    </a:moveTo>
                    <a:lnTo>
                      <a:pt x="173" y="954"/>
                    </a:lnTo>
                    <a:lnTo>
                      <a:pt x="290" y="1004"/>
                    </a:lnTo>
                    <a:lnTo>
                      <a:pt x="246" y="1119"/>
                    </a:lnTo>
                    <a:lnTo>
                      <a:pt x="266" y="1244"/>
                    </a:lnTo>
                    <a:lnTo>
                      <a:pt x="206" y="1359"/>
                    </a:lnTo>
                    <a:lnTo>
                      <a:pt x="241" y="1448"/>
                    </a:lnTo>
                    <a:lnTo>
                      <a:pt x="94" y="1542"/>
                    </a:lnTo>
                    <a:lnTo>
                      <a:pt x="0" y="1587"/>
                    </a:lnTo>
                    <a:lnTo>
                      <a:pt x="0" y="1707"/>
                    </a:lnTo>
                    <a:lnTo>
                      <a:pt x="94" y="1722"/>
                    </a:lnTo>
                    <a:lnTo>
                      <a:pt x="236" y="1632"/>
                    </a:lnTo>
                    <a:lnTo>
                      <a:pt x="384" y="1717"/>
                    </a:lnTo>
                    <a:lnTo>
                      <a:pt x="399" y="1897"/>
                    </a:lnTo>
                    <a:lnTo>
                      <a:pt x="455" y="2045"/>
                    </a:lnTo>
                    <a:lnTo>
                      <a:pt x="718" y="2058"/>
                    </a:lnTo>
                    <a:lnTo>
                      <a:pt x="1170" y="2150"/>
                    </a:lnTo>
                    <a:lnTo>
                      <a:pt x="1590" y="2320"/>
                    </a:lnTo>
                    <a:lnTo>
                      <a:pt x="1703" y="2255"/>
                    </a:lnTo>
                    <a:lnTo>
                      <a:pt x="1693" y="2180"/>
                    </a:lnTo>
                    <a:lnTo>
                      <a:pt x="1728" y="2080"/>
                    </a:lnTo>
                    <a:lnTo>
                      <a:pt x="1885" y="2060"/>
                    </a:lnTo>
                    <a:lnTo>
                      <a:pt x="2038" y="1977"/>
                    </a:lnTo>
                    <a:lnTo>
                      <a:pt x="2254" y="1957"/>
                    </a:lnTo>
                    <a:lnTo>
                      <a:pt x="2452" y="2045"/>
                    </a:lnTo>
                    <a:lnTo>
                      <a:pt x="2622" y="2043"/>
                    </a:lnTo>
                    <a:lnTo>
                      <a:pt x="2737" y="1956"/>
                    </a:lnTo>
                    <a:lnTo>
                      <a:pt x="2919" y="1942"/>
                    </a:lnTo>
                    <a:lnTo>
                      <a:pt x="2994" y="2017"/>
                    </a:lnTo>
                    <a:lnTo>
                      <a:pt x="3140" y="1767"/>
                    </a:lnTo>
                    <a:lnTo>
                      <a:pt x="3037" y="1722"/>
                    </a:lnTo>
                    <a:lnTo>
                      <a:pt x="3013" y="1642"/>
                    </a:lnTo>
                    <a:lnTo>
                      <a:pt x="3140" y="1642"/>
                    </a:lnTo>
                    <a:lnTo>
                      <a:pt x="3184" y="1572"/>
                    </a:lnTo>
                    <a:lnTo>
                      <a:pt x="3288" y="1524"/>
                    </a:lnTo>
                    <a:lnTo>
                      <a:pt x="3216" y="1380"/>
                    </a:lnTo>
                    <a:lnTo>
                      <a:pt x="3105" y="1446"/>
                    </a:lnTo>
                    <a:lnTo>
                      <a:pt x="3072" y="1379"/>
                    </a:lnTo>
                    <a:lnTo>
                      <a:pt x="3155" y="1269"/>
                    </a:lnTo>
                    <a:lnTo>
                      <a:pt x="2862" y="1243"/>
                    </a:lnTo>
                    <a:lnTo>
                      <a:pt x="2747" y="1179"/>
                    </a:lnTo>
                    <a:lnTo>
                      <a:pt x="2805" y="1074"/>
                    </a:lnTo>
                    <a:lnTo>
                      <a:pt x="2628" y="671"/>
                    </a:lnTo>
                    <a:lnTo>
                      <a:pt x="2658" y="506"/>
                    </a:lnTo>
                    <a:lnTo>
                      <a:pt x="2490" y="282"/>
                    </a:lnTo>
                    <a:lnTo>
                      <a:pt x="1989" y="267"/>
                    </a:lnTo>
                    <a:lnTo>
                      <a:pt x="1753" y="132"/>
                    </a:lnTo>
                    <a:lnTo>
                      <a:pt x="1418" y="12"/>
                    </a:lnTo>
                    <a:lnTo>
                      <a:pt x="1176" y="62"/>
                    </a:lnTo>
                    <a:lnTo>
                      <a:pt x="988" y="0"/>
                    </a:lnTo>
                    <a:lnTo>
                      <a:pt x="650" y="182"/>
                    </a:lnTo>
                    <a:lnTo>
                      <a:pt x="533" y="412"/>
                    </a:lnTo>
                    <a:lnTo>
                      <a:pt x="424" y="527"/>
                    </a:lnTo>
                    <a:lnTo>
                      <a:pt x="369" y="718"/>
                    </a:lnTo>
                    <a:lnTo>
                      <a:pt x="203" y="839"/>
                    </a:lnTo>
                    <a:close/>
                  </a:path>
                </a:pathLst>
              </a:custGeom>
              <a:solidFill>
                <a:srgbClr val="00BCFF"/>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1" name="Freeform 33">
                <a:extLst>
                  <a:ext uri="{FF2B5EF4-FFF2-40B4-BE49-F238E27FC236}">
                    <a16:creationId xmlns:a16="http://schemas.microsoft.com/office/drawing/2014/main" id="{7FD895DD-8EF3-472F-81AA-9E973CA38E5B}"/>
                  </a:ext>
                </a:extLst>
              </p:cNvPr>
              <p:cNvSpPr>
                <a:spLocks/>
              </p:cNvSpPr>
              <p:nvPr/>
            </p:nvSpPr>
            <p:spPr bwMode="auto">
              <a:xfrm>
                <a:off x="1846" y="3362"/>
                <a:ext cx="393" cy="267"/>
              </a:xfrm>
              <a:custGeom>
                <a:avLst/>
                <a:gdLst/>
                <a:ahLst/>
                <a:cxnLst>
                  <a:cxn ang="0">
                    <a:pos x="59" y="103"/>
                  </a:cxn>
                  <a:cxn ang="0">
                    <a:pos x="15" y="298"/>
                  </a:cxn>
                  <a:cxn ang="0">
                    <a:pos x="0" y="552"/>
                  </a:cxn>
                  <a:cxn ang="0">
                    <a:pos x="788" y="662"/>
                  </a:cxn>
                  <a:cxn ang="0">
                    <a:pos x="945" y="767"/>
                  </a:cxn>
                  <a:cxn ang="0">
                    <a:pos x="1209" y="878"/>
                  </a:cxn>
                  <a:cxn ang="0">
                    <a:pos x="1414" y="1063"/>
                  </a:cxn>
                  <a:cxn ang="0">
                    <a:pos x="1507" y="1263"/>
                  </a:cxn>
                  <a:cxn ang="0">
                    <a:pos x="1777" y="1376"/>
                  </a:cxn>
                  <a:cxn ang="0">
                    <a:pos x="1922" y="1361"/>
                  </a:cxn>
                  <a:cxn ang="0">
                    <a:pos x="1819" y="1554"/>
                  </a:cxn>
                  <a:cxn ang="0">
                    <a:pos x="1820" y="1720"/>
                  </a:cxn>
                  <a:cxn ang="0">
                    <a:pos x="1909" y="1810"/>
                  </a:cxn>
                  <a:cxn ang="0">
                    <a:pos x="2219" y="1540"/>
                  </a:cxn>
                  <a:cxn ang="0">
                    <a:pos x="2435" y="1456"/>
                  </a:cxn>
                  <a:cxn ang="0">
                    <a:pos x="2377" y="1346"/>
                  </a:cxn>
                  <a:cxn ang="0">
                    <a:pos x="2480" y="1241"/>
                  </a:cxn>
                  <a:cxn ang="0">
                    <a:pos x="2618" y="887"/>
                  </a:cxn>
                  <a:cxn ang="0">
                    <a:pos x="2569" y="732"/>
                  </a:cxn>
                  <a:cxn ang="0">
                    <a:pos x="2584" y="522"/>
                  </a:cxn>
                  <a:cxn ang="0">
                    <a:pos x="2628" y="243"/>
                  </a:cxn>
                  <a:cxn ang="0">
                    <a:pos x="2599" y="75"/>
                  </a:cxn>
                  <a:cxn ang="0">
                    <a:pos x="2527" y="0"/>
                  </a:cxn>
                  <a:cxn ang="0">
                    <a:pos x="2342" y="15"/>
                  </a:cxn>
                  <a:cxn ang="0">
                    <a:pos x="2229" y="100"/>
                  </a:cxn>
                  <a:cxn ang="0">
                    <a:pos x="2052" y="103"/>
                  </a:cxn>
                  <a:cxn ang="0">
                    <a:pos x="1862" y="15"/>
                  </a:cxn>
                  <a:cxn ang="0">
                    <a:pos x="1643" y="36"/>
                  </a:cxn>
                  <a:cxn ang="0">
                    <a:pos x="1489" y="118"/>
                  </a:cxn>
                  <a:cxn ang="0">
                    <a:pos x="1334" y="138"/>
                  </a:cxn>
                  <a:cxn ang="0">
                    <a:pos x="1301" y="238"/>
                  </a:cxn>
                  <a:cxn ang="0">
                    <a:pos x="1306" y="315"/>
                  </a:cxn>
                  <a:cxn ang="0">
                    <a:pos x="1196" y="377"/>
                  </a:cxn>
                  <a:cxn ang="0">
                    <a:pos x="788" y="213"/>
                  </a:cxn>
                  <a:cxn ang="0">
                    <a:pos x="330" y="118"/>
                  </a:cxn>
                  <a:cxn ang="0">
                    <a:pos x="59" y="103"/>
                  </a:cxn>
                </a:cxnLst>
                <a:rect l="0" t="0" r="r" b="b"/>
                <a:pathLst>
                  <a:path w="2628" h="1810">
                    <a:moveTo>
                      <a:pt x="59" y="103"/>
                    </a:moveTo>
                    <a:lnTo>
                      <a:pt x="15" y="298"/>
                    </a:lnTo>
                    <a:lnTo>
                      <a:pt x="0" y="552"/>
                    </a:lnTo>
                    <a:lnTo>
                      <a:pt x="788" y="662"/>
                    </a:lnTo>
                    <a:lnTo>
                      <a:pt x="945" y="767"/>
                    </a:lnTo>
                    <a:lnTo>
                      <a:pt x="1209" y="878"/>
                    </a:lnTo>
                    <a:lnTo>
                      <a:pt x="1414" y="1063"/>
                    </a:lnTo>
                    <a:lnTo>
                      <a:pt x="1507" y="1263"/>
                    </a:lnTo>
                    <a:lnTo>
                      <a:pt x="1777" y="1376"/>
                    </a:lnTo>
                    <a:lnTo>
                      <a:pt x="1922" y="1361"/>
                    </a:lnTo>
                    <a:lnTo>
                      <a:pt x="1819" y="1554"/>
                    </a:lnTo>
                    <a:lnTo>
                      <a:pt x="1820" y="1720"/>
                    </a:lnTo>
                    <a:lnTo>
                      <a:pt x="1909" y="1810"/>
                    </a:lnTo>
                    <a:lnTo>
                      <a:pt x="2219" y="1540"/>
                    </a:lnTo>
                    <a:lnTo>
                      <a:pt x="2435" y="1456"/>
                    </a:lnTo>
                    <a:lnTo>
                      <a:pt x="2377" y="1346"/>
                    </a:lnTo>
                    <a:lnTo>
                      <a:pt x="2480" y="1241"/>
                    </a:lnTo>
                    <a:lnTo>
                      <a:pt x="2618" y="887"/>
                    </a:lnTo>
                    <a:lnTo>
                      <a:pt x="2569" y="732"/>
                    </a:lnTo>
                    <a:lnTo>
                      <a:pt x="2584" y="522"/>
                    </a:lnTo>
                    <a:lnTo>
                      <a:pt x="2628" y="243"/>
                    </a:lnTo>
                    <a:lnTo>
                      <a:pt x="2599" y="75"/>
                    </a:lnTo>
                    <a:lnTo>
                      <a:pt x="2527" y="0"/>
                    </a:lnTo>
                    <a:lnTo>
                      <a:pt x="2342" y="15"/>
                    </a:lnTo>
                    <a:lnTo>
                      <a:pt x="2229" y="100"/>
                    </a:lnTo>
                    <a:lnTo>
                      <a:pt x="2052" y="103"/>
                    </a:lnTo>
                    <a:lnTo>
                      <a:pt x="1862" y="15"/>
                    </a:lnTo>
                    <a:lnTo>
                      <a:pt x="1643" y="36"/>
                    </a:lnTo>
                    <a:lnTo>
                      <a:pt x="1489" y="118"/>
                    </a:lnTo>
                    <a:lnTo>
                      <a:pt x="1334" y="138"/>
                    </a:lnTo>
                    <a:lnTo>
                      <a:pt x="1301" y="238"/>
                    </a:lnTo>
                    <a:lnTo>
                      <a:pt x="1306" y="315"/>
                    </a:lnTo>
                    <a:lnTo>
                      <a:pt x="1196" y="377"/>
                    </a:lnTo>
                    <a:lnTo>
                      <a:pt x="788" y="213"/>
                    </a:lnTo>
                    <a:lnTo>
                      <a:pt x="330" y="118"/>
                    </a:lnTo>
                    <a:lnTo>
                      <a:pt x="59" y="103"/>
                    </a:lnTo>
                    <a:close/>
                  </a:path>
                </a:pathLst>
              </a:custGeom>
              <a:solidFill>
                <a:srgbClr val="CDC4A7"/>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2" name="Freeform 34">
                <a:extLst>
                  <a:ext uri="{FF2B5EF4-FFF2-40B4-BE49-F238E27FC236}">
                    <a16:creationId xmlns:a16="http://schemas.microsoft.com/office/drawing/2014/main" id="{FCEAC2A1-B94D-4334-A4E1-7A85A3BD5CE6}"/>
                  </a:ext>
                </a:extLst>
              </p:cNvPr>
              <p:cNvSpPr>
                <a:spLocks/>
              </p:cNvSpPr>
              <p:nvPr/>
            </p:nvSpPr>
            <p:spPr bwMode="auto">
              <a:xfrm>
                <a:off x="1542" y="3444"/>
                <a:ext cx="592" cy="532"/>
              </a:xfrm>
              <a:custGeom>
                <a:avLst/>
                <a:gdLst/>
                <a:ahLst/>
                <a:cxnLst>
                  <a:cxn ang="0">
                    <a:pos x="0" y="1342"/>
                  </a:cxn>
                  <a:cxn ang="0">
                    <a:pos x="134" y="1185"/>
                  </a:cxn>
                  <a:cxn ang="0">
                    <a:pos x="317" y="1008"/>
                  </a:cxn>
                  <a:cxn ang="0">
                    <a:pos x="515" y="765"/>
                  </a:cxn>
                  <a:cxn ang="0">
                    <a:pos x="759" y="552"/>
                  </a:cxn>
                  <a:cxn ang="0">
                    <a:pos x="971" y="366"/>
                  </a:cxn>
                  <a:cxn ang="0">
                    <a:pos x="1270" y="155"/>
                  </a:cxn>
                  <a:cxn ang="0">
                    <a:pos x="1626" y="0"/>
                  </a:cxn>
                  <a:cxn ang="0">
                    <a:pos x="2252" y="86"/>
                  </a:cxn>
                  <a:cxn ang="0">
                    <a:pos x="2380" y="171"/>
                  </a:cxn>
                  <a:cxn ang="0">
                    <a:pos x="2593" y="262"/>
                  </a:cxn>
                  <a:cxn ang="0">
                    <a:pos x="2758" y="410"/>
                  </a:cxn>
                  <a:cxn ang="0">
                    <a:pos x="2829" y="566"/>
                  </a:cxn>
                  <a:cxn ang="0">
                    <a:pos x="3046" y="657"/>
                  </a:cxn>
                  <a:cxn ang="0">
                    <a:pos x="3164" y="645"/>
                  </a:cxn>
                  <a:cxn ang="0">
                    <a:pos x="3081" y="801"/>
                  </a:cxn>
                  <a:cxn ang="0">
                    <a:pos x="3081" y="933"/>
                  </a:cxn>
                  <a:cxn ang="0">
                    <a:pos x="3152" y="1005"/>
                  </a:cxn>
                  <a:cxn ang="0">
                    <a:pos x="3010" y="1232"/>
                  </a:cxn>
                  <a:cxn ang="0">
                    <a:pos x="2751" y="1703"/>
                  </a:cxn>
                  <a:cxn ang="0">
                    <a:pos x="2558" y="1894"/>
                  </a:cxn>
                  <a:cxn ang="0">
                    <a:pos x="2231" y="2122"/>
                  </a:cxn>
                  <a:cxn ang="0">
                    <a:pos x="2207" y="2106"/>
                  </a:cxn>
                  <a:cxn ang="0">
                    <a:pos x="2349" y="2010"/>
                  </a:cxn>
                  <a:cxn ang="0">
                    <a:pos x="2479" y="1890"/>
                  </a:cxn>
                  <a:cxn ang="0">
                    <a:pos x="2502" y="1775"/>
                  </a:cxn>
                  <a:cxn ang="0">
                    <a:pos x="2593" y="1751"/>
                  </a:cxn>
                  <a:cxn ang="0">
                    <a:pos x="2688" y="1631"/>
                  </a:cxn>
                  <a:cxn ang="0">
                    <a:pos x="2735" y="1559"/>
                  </a:cxn>
                  <a:cxn ang="0">
                    <a:pos x="2762" y="1451"/>
                  </a:cxn>
                  <a:cxn ang="0">
                    <a:pos x="2739" y="1376"/>
                  </a:cxn>
                  <a:cxn ang="0">
                    <a:pos x="2640" y="1436"/>
                  </a:cxn>
                  <a:cxn ang="0">
                    <a:pos x="2526" y="1459"/>
                  </a:cxn>
                  <a:cxn ang="0">
                    <a:pos x="2439" y="1627"/>
                  </a:cxn>
                  <a:cxn ang="0">
                    <a:pos x="2384" y="1771"/>
                  </a:cxn>
                  <a:cxn ang="0">
                    <a:pos x="2215" y="1858"/>
                  </a:cxn>
                  <a:cxn ang="0">
                    <a:pos x="2120" y="1986"/>
                  </a:cxn>
                  <a:cxn ang="0">
                    <a:pos x="2054" y="2130"/>
                  </a:cxn>
                  <a:cxn ang="0">
                    <a:pos x="2014" y="2309"/>
                  </a:cxn>
                  <a:cxn ang="0">
                    <a:pos x="1912" y="2553"/>
                  </a:cxn>
                  <a:cxn ang="0">
                    <a:pos x="1719" y="2744"/>
                  </a:cxn>
                  <a:cxn ang="0">
                    <a:pos x="1560" y="2882"/>
                  </a:cxn>
                  <a:cxn ang="0">
                    <a:pos x="1483" y="2840"/>
                  </a:cxn>
                  <a:cxn ang="0">
                    <a:pos x="1506" y="2597"/>
                  </a:cxn>
                  <a:cxn ang="0">
                    <a:pos x="1699" y="2445"/>
                  </a:cxn>
                  <a:cxn ang="0">
                    <a:pos x="1522" y="2321"/>
                  </a:cxn>
                  <a:cxn ang="0">
                    <a:pos x="1475" y="2170"/>
                  </a:cxn>
                  <a:cxn ang="0">
                    <a:pos x="593" y="1555"/>
                  </a:cxn>
                  <a:cxn ang="0">
                    <a:pos x="455" y="1412"/>
                  </a:cxn>
                  <a:cxn ang="0">
                    <a:pos x="313" y="1268"/>
                  </a:cxn>
                  <a:cxn ang="0">
                    <a:pos x="207" y="1284"/>
                  </a:cxn>
                  <a:cxn ang="0">
                    <a:pos x="174" y="1365"/>
                  </a:cxn>
                  <a:cxn ang="0">
                    <a:pos x="0" y="1342"/>
                  </a:cxn>
                </a:cxnLst>
                <a:rect l="0" t="0" r="r" b="b"/>
                <a:pathLst>
                  <a:path w="3164" h="2882">
                    <a:moveTo>
                      <a:pt x="0" y="1342"/>
                    </a:moveTo>
                    <a:lnTo>
                      <a:pt x="134" y="1185"/>
                    </a:lnTo>
                    <a:lnTo>
                      <a:pt x="317" y="1008"/>
                    </a:lnTo>
                    <a:lnTo>
                      <a:pt x="515" y="765"/>
                    </a:lnTo>
                    <a:lnTo>
                      <a:pt x="759" y="552"/>
                    </a:lnTo>
                    <a:lnTo>
                      <a:pt x="971" y="366"/>
                    </a:lnTo>
                    <a:lnTo>
                      <a:pt x="1270" y="155"/>
                    </a:lnTo>
                    <a:lnTo>
                      <a:pt x="1626" y="0"/>
                    </a:lnTo>
                    <a:lnTo>
                      <a:pt x="2252" y="86"/>
                    </a:lnTo>
                    <a:lnTo>
                      <a:pt x="2380" y="171"/>
                    </a:lnTo>
                    <a:lnTo>
                      <a:pt x="2593" y="262"/>
                    </a:lnTo>
                    <a:lnTo>
                      <a:pt x="2758" y="410"/>
                    </a:lnTo>
                    <a:lnTo>
                      <a:pt x="2829" y="566"/>
                    </a:lnTo>
                    <a:lnTo>
                      <a:pt x="3046" y="657"/>
                    </a:lnTo>
                    <a:lnTo>
                      <a:pt x="3164" y="645"/>
                    </a:lnTo>
                    <a:lnTo>
                      <a:pt x="3081" y="801"/>
                    </a:lnTo>
                    <a:lnTo>
                      <a:pt x="3081" y="933"/>
                    </a:lnTo>
                    <a:lnTo>
                      <a:pt x="3152" y="1005"/>
                    </a:lnTo>
                    <a:lnTo>
                      <a:pt x="3010" y="1232"/>
                    </a:lnTo>
                    <a:lnTo>
                      <a:pt x="2751" y="1703"/>
                    </a:lnTo>
                    <a:lnTo>
                      <a:pt x="2558" y="1894"/>
                    </a:lnTo>
                    <a:lnTo>
                      <a:pt x="2231" y="2122"/>
                    </a:lnTo>
                    <a:lnTo>
                      <a:pt x="2207" y="2106"/>
                    </a:lnTo>
                    <a:lnTo>
                      <a:pt x="2349" y="2010"/>
                    </a:lnTo>
                    <a:lnTo>
                      <a:pt x="2479" y="1890"/>
                    </a:lnTo>
                    <a:lnTo>
                      <a:pt x="2502" y="1775"/>
                    </a:lnTo>
                    <a:lnTo>
                      <a:pt x="2593" y="1751"/>
                    </a:lnTo>
                    <a:lnTo>
                      <a:pt x="2688" y="1631"/>
                    </a:lnTo>
                    <a:lnTo>
                      <a:pt x="2735" y="1559"/>
                    </a:lnTo>
                    <a:lnTo>
                      <a:pt x="2762" y="1451"/>
                    </a:lnTo>
                    <a:lnTo>
                      <a:pt x="2739" y="1376"/>
                    </a:lnTo>
                    <a:lnTo>
                      <a:pt x="2640" y="1436"/>
                    </a:lnTo>
                    <a:lnTo>
                      <a:pt x="2526" y="1459"/>
                    </a:lnTo>
                    <a:lnTo>
                      <a:pt x="2439" y="1627"/>
                    </a:lnTo>
                    <a:lnTo>
                      <a:pt x="2384" y="1771"/>
                    </a:lnTo>
                    <a:lnTo>
                      <a:pt x="2215" y="1858"/>
                    </a:lnTo>
                    <a:lnTo>
                      <a:pt x="2120" y="1986"/>
                    </a:lnTo>
                    <a:lnTo>
                      <a:pt x="2054" y="2130"/>
                    </a:lnTo>
                    <a:lnTo>
                      <a:pt x="2014" y="2309"/>
                    </a:lnTo>
                    <a:lnTo>
                      <a:pt x="1912" y="2553"/>
                    </a:lnTo>
                    <a:lnTo>
                      <a:pt x="1719" y="2744"/>
                    </a:lnTo>
                    <a:lnTo>
                      <a:pt x="1560" y="2882"/>
                    </a:lnTo>
                    <a:lnTo>
                      <a:pt x="1483" y="2840"/>
                    </a:lnTo>
                    <a:lnTo>
                      <a:pt x="1506" y="2597"/>
                    </a:lnTo>
                    <a:lnTo>
                      <a:pt x="1699" y="2445"/>
                    </a:lnTo>
                    <a:lnTo>
                      <a:pt x="1522" y="2321"/>
                    </a:lnTo>
                    <a:lnTo>
                      <a:pt x="1475" y="2170"/>
                    </a:lnTo>
                    <a:lnTo>
                      <a:pt x="593" y="1555"/>
                    </a:lnTo>
                    <a:lnTo>
                      <a:pt x="455" y="1412"/>
                    </a:lnTo>
                    <a:lnTo>
                      <a:pt x="313" y="1268"/>
                    </a:lnTo>
                    <a:lnTo>
                      <a:pt x="207" y="1284"/>
                    </a:lnTo>
                    <a:lnTo>
                      <a:pt x="174" y="1365"/>
                    </a:lnTo>
                    <a:lnTo>
                      <a:pt x="0" y="1342"/>
                    </a:lnTo>
                    <a:close/>
                  </a:path>
                </a:pathLst>
              </a:custGeom>
              <a:solidFill>
                <a:srgbClr val="73BC44"/>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3" name="Freeform 35">
                <a:extLst>
                  <a:ext uri="{FF2B5EF4-FFF2-40B4-BE49-F238E27FC236}">
                    <a16:creationId xmlns:a16="http://schemas.microsoft.com/office/drawing/2014/main" id="{22322E0E-5C12-4072-8F7F-BD0EAB78E08A}"/>
                  </a:ext>
                </a:extLst>
              </p:cNvPr>
              <p:cNvSpPr>
                <a:spLocks/>
              </p:cNvSpPr>
              <p:nvPr/>
            </p:nvSpPr>
            <p:spPr bwMode="auto">
              <a:xfrm>
                <a:off x="1937" y="2266"/>
                <a:ext cx="588" cy="561"/>
              </a:xfrm>
              <a:custGeom>
                <a:avLst/>
                <a:gdLst/>
                <a:ahLst/>
                <a:cxnLst>
                  <a:cxn ang="0">
                    <a:pos x="1585" y="15"/>
                  </a:cxn>
                  <a:cxn ang="0">
                    <a:pos x="1668" y="175"/>
                  </a:cxn>
                  <a:cxn ang="0">
                    <a:pos x="2069" y="352"/>
                  </a:cxn>
                  <a:cxn ang="0">
                    <a:pos x="2224" y="150"/>
                  </a:cxn>
                  <a:cxn ang="0">
                    <a:pos x="2406" y="100"/>
                  </a:cxn>
                  <a:cxn ang="0">
                    <a:pos x="2466" y="370"/>
                  </a:cxn>
                  <a:cxn ang="0">
                    <a:pos x="2799" y="277"/>
                  </a:cxn>
                  <a:cxn ang="0">
                    <a:pos x="3064" y="405"/>
                  </a:cxn>
                  <a:cxn ang="0">
                    <a:pos x="3657" y="162"/>
                  </a:cxn>
                  <a:cxn ang="0">
                    <a:pos x="3892" y="240"/>
                  </a:cxn>
                  <a:cxn ang="0">
                    <a:pos x="3774" y="789"/>
                  </a:cxn>
                  <a:cxn ang="0">
                    <a:pos x="3922" y="1054"/>
                  </a:cxn>
                  <a:cxn ang="0">
                    <a:pos x="3867" y="1394"/>
                  </a:cxn>
                  <a:cxn ang="0">
                    <a:pos x="3603" y="1257"/>
                  </a:cxn>
                  <a:cxn ang="0">
                    <a:pos x="3583" y="1462"/>
                  </a:cxn>
                  <a:cxn ang="0">
                    <a:pos x="3392" y="1512"/>
                  </a:cxn>
                  <a:cxn ang="0">
                    <a:pos x="3377" y="1850"/>
                  </a:cxn>
                  <a:cxn ang="0">
                    <a:pos x="3052" y="2225"/>
                  </a:cxn>
                  <a:cxn ang="0">
                    <a:pos x="3160" y="2529"/>
                  </a:cxn>
                  <a:cxn ang="0">
                    <a:pos x="2998" y="2798"/>
                  </a:cxn>
                  <a:cxn ang="0">
                    <a:pos x="3057" y="2988"/>
                  </a:cxn>
                  <a:cxn ang="0">
                    <a:pos x="2934" y="3166"/>
                  </a:cxn>
                  <a:cxn ang="0">
                    <a:pos x="2609" y="3246"/>
                  </a:cxn>
                  <a:cxn ang="0">
                    <a:pos x="1974" y="3351"/>
                  </a:cxn>
                  <a:cxn ang="0">
                    <a:pos x="1447" y="3396"/>
                  </a:cxn>
                  <a:cxn ang="0">
                    <a:pos x="1118" y="3801"/>
                  </a:cxn>
                  <a:cxn ang="0">
                    <a:pos x="428" y="3396"/>
                  </a:cxn>
                  <a:cxn ang="0">
                    <a:pos x="113" y="3331"/>
                  </a:cxn>
                  <a:cxn ang="0">
                    <a:pos x="73" y="3148"/>
                  </a:cxn>
                  <a:cxn ang="0">
                    <a:pos x="0" y="2762"/>
                  </a:cxn>
                  <a:cxn ang="0">
                    <a:pos x="83" y="2502"/>
                  </a:cxn>
                  <a:cxn ang="0">
                    <a:pos x="260" y="2270"/>
                  </a:cxn>
                  <a:cxn ang="0">
                    <a:pos x="693" y="1744"/>
                  </a:cxn>
                  <a:cxn ang="0">
                    <a:pos x="928" y="1372"/>
                  </a:cxn>
                  <a:cxn ang="0">
                    <a:pos x="1240" y="1131"/>
                  </a:cxn>
                  <a:cxn ang="0">
                    <a:pos x="1343" y="818"/>
                  </a:cxn>
                  <a:cxn ang="0">
                    <a:pos x="1478" y="350"/>
                  </a:cxn>
                </a:cxnLst>
                <a:rect l="0" t="0" r="r" b="b"/>
                <a:pathLst>
                  <a:path w="3928" h="3801">
                    <a:moveTo>
                      <a:pt x="1563" y="182"/>
                    </a:moveTo>
                    <a:lnTo>
                      <a:pt x="1585" y="15"/>
                    </a:lnTo>
                    <a:lnTo>
                      <a:pt x="1648" y="67"/>
                    </a:lnTo>
                    <a:lnTo>
                      <a:pt x="1668" y="175"/>
                    </a:lnTo>
                    <a:lnTo>
                      <a:pt x="1991" y="255"/>
                    </a:lnTo>
                    <a:lnTo>
                      <a:pt x="2069" y="352"/>
                    </a:lnTo>
                    <a:lnTo>
                      <a:pt x="2209" y="297"/>
                    </a:lnTo>
                    <a:lnTo>
                      <a:pt x="2224" y="150"/>
                    </a:lnTo>
                    <a:lnTo>
                      <a:pt x="2344" y="0"/>
                    </a:lnTo>
                    <a:lnTo>
                      <a:pt x="2406" y="100"/>
                    </a:lnTo>
                    <a:lnTo>
                      <a:pt x="2416" y="280"/>
                    </a:lnTo>
                    <a:lnTo>
                      <a:pt x="2466" y="370"/>
                    </a:lnTo>
                    <a:lnTo>
                      <a:pt x="2581" y="280"/>
                    </a:lnTo>
                    <a:lnTo>
                      <a:pt x="2799" y="277"/>
                    </a:lnTo>
                    <a:lnTo>
                      <a:pt x="2832" y="405"/>
                    </a:lnTo>
                    <a:lnTo>
                      <a:pt x="3064" y="405"/>
                    </a:lnTo>
                    <a:lnTo>
                      <a:pt x="3450" y="300"/>
                    </a:lnTo>
                    <a:lnTo>
                      <a:pt x="3657" y="162"/>
                    </a:lnTo>
                    <a:lnTo>
                      <a:pt x="3824" y="161"/>
                    </a:lnTo>
                    <a:lnTo>
                      <a:pt x="3892" y="240"/>
                    </a:lnTo>
                    <a:lnTo>
                      <a:pt x="3869" y="460"/>
                    </a:lnTo>
                    <a:lnTo>
                      <a:pt x="3774" y="789"/>
                    </a:lnTo>
                    <a:lnTo>
                      <a:pt x="3839" y="949"/>
                    </a:lnTo>
                    <a:lnTo>
                      <a:pt x="3922" y="1054"/>
                    </a:lnTo>
                    <a:lnTo>
                      <a:pt x="3928" y="1252"/>
                    </a:lnTo>
                    <a:lnTo>
                      <a:pt x="3867" y="1394"/>
                    </a:lnTo>
                    <a:lnTo>
                      <a:pt x="3735" y="1357"/>
                    </a:lnTo>
                    <a:lnTo>
                      <a:pt x="3603" y="1257"/>
                    </a:lnTo>
                    <a:lnTo>
                      <a:pt x="3559" y="1372"/>
                    </a:lnTo>
                    <a:lnTo>
                      <a:pt x="3583" y="1462"/>
                    </a:lnTo>
                    <a:lnTo>
                      <a:pt x="3455" y="1407"/>
                    </a:lnTo>
                    <a:lnTo>
                      <a:pt x="3392" y="1512"/>
                    </a:lnTo>
                    <a:lnTo>
                      <a:pt x="3362" y="1670"/>
                    </a:lnTo>
                    <a:lnTo>
                      <a:pt x="3377" y="1850"/>
                    </a:lnTo>
                    <a:lnTo>
                      <a:pt x="3155" y="2001"/>
                    </a:lnTo>
                    <a:lnTo>
                      <a:pt x="3052" y="2225"/>
                    </a:lnTo>
                    <a:lnTo>
                      <a:pt x="3175" y="2364"/>
                    </a:lnTo>
                    <a:lnTo>
                      <a:pt x="3160" y="2529"/>
                    </a:lnTo>
                    <a:lnTo>
                      <a:pt x="2983" y="2693"/>
                    </a:lnTo>
                    <a:lnTo>
                      <a:pt x="2998" y="2798"/>
                    </a:lnTo>
                    <a:lnTo>
                      <a:pt x="3097" y="2828"/>
                    </a:lnTo>
                    <a:lnTo>
                      <a:pt x="3057" y="2988"/>
                    </a:lnTo>
                    <a:lnTo>
                      <a:pt x="3125" y="3106"/>
                    </a:lnTo>
                    <a:lnTo>
                      <a:pt x="2934" y="3166"/>
                    </a:lnTo>
                    <a:lnTo>
                      <a:pt x="2717" y="3291"/>
                    </a:lnTo>
                    <a:lnTo>
                      <a:pt x="2609" y="3246"/>
                    </a:lnTo>
                    <a:lnTo>
                      <a:pt x="2195" y="3216"/>
                    </a:lnTo>
                    <a:lnTo>
                      <a:pt x="1974" y="3351"/>
                    </a:lnTo>
                    <a:lnTo>
                      <a:pt x="1757" y="3346"/>
                    </a:lnTo>
                    <a:lnTo>
                      <a:pt x="1447" y="3396"/>
                    </a:lnTo>
                    <a:lnTo>
                      <a:pt x="1328" y="3590"/>
                    </a:lnTo>
                    <a:lnTo>
                      <a:pt x="1118" y="3801"/>
                    </a:lnTo>
                    <a:lnTo>
                      <a:pt x="619" y="3561"/>
                    </a:lnTo>
                    <a:lnTo>
                      <a:pt x="428" y="3396"/>
                    </a:lnTo>
                    <a:lnTo>
                      <a:pt x="171" y="3411"/>
                    </a:lnTo>
                    <a:lnTo>
                      <a:pt x="113" y="3331"/>
                    </a:lnTo>
                    <a:lnTo>
                      <a:pt x="176" y="3204"/>
                    </a:lnTo>
                    <a:lnTo>
                      <a:pt x="73" y="3148"/>
                    </a:lnTo>
                    <a:lnTo>
                      <a:pt x="9" y="2948"/>
                    </a:lnTo>
                    <a:lnTo>
                      <a:pt x="0" y="2762"/>
                    </a:lnTo>
                    <a:lnTo>
                      <a:pt x="5" y="2608"/>
                    </a:lnTo>
                    <a:lnTo>
                      <a:pt x="83" y="2502"/>
                    </a:lnTo>
                    <a:lnTo>
                      <a:pt x="84" y="2347"/>
                    </a:lnTo>
                    <a:lnTo>
                      <a:pt x="260" y="2270"/>
                    </a:lnTo>
                    <a:lnTo>
                      <a:pt x="510" y="1789"/>
                    </a:lnTo>
                    <a:lnTo>
                      <a:pt x="693" y="1744"/>
                    </a:lnTo>
                    <a:lnTo>
                      <a:pt x="838" y="1576"/>
                    </a:lnTo>
                    <a:lnTo>
                      <a:pt x="928" y="1372"/>
                    </a:lnTo>
                    <a:lnTo>
                      <a:pt x="1136" y="1317"/>
                    </a:lnTo>
                    <a:lnTo>
                      <a:pt x="1240" y="1131"/>
                    </a:lnTo>
                    <a:lnTo>
                      <a:pt x="1252" y="939"/>
                    </a:lnTo>
                    <a:lnTo>
                      <a:pt x="1343" y="818"/>
                    </a:lnTo>
                    <a:lnTo>
                      <a:pt x="1354" y="668"/>
                    </a:lnTo>
                    <a:lnTo>
                      <a:pt x="1478" y="350"/>
                    </a:lnTo>
                    <a:lnTo>
                      <a:pt x="1563" y="182"/>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4" name="Freeform 36">
                <a:extLst>
                  <a:ext uri="{FF2B5EF4-FFF2-40B4-BE49-F238E27FC236}">
                    <a16:creationId xmlns:a16="http://schemas.microsoft.com/office/drawing/2014/main" id="{611B49EA-53AA-49A6-A32C-473B11414ADB}"/>
                  </a:ext>
                </a:extLst>
              </p:cNvPr>
              <p:cNvSpPr>
                <a:spLocks/>
              </p:cNvSpPr>
              <p:nvPr/>
            </p:nvSpPr>
            <p:spPr bwMode="auto">
              <a:xfrm>
                <a:off x="2094" y="2411"/>
                <a:ext cx="902" cy="710"/>
              </a:xfrm>
              <a:custGeom>
                <a:avLst/>
                <a:gdLst/>
                <a:ahLst/>
                <a:cxnLst>
                  <a:cxn ang="0">
                    <a:pos x="2846" y="526"/>
                  </a:cxn>
                  <a:cxn ang="0">
                    <a:pos x="3235" y="284"/>
                  </a:cxn>
                  <a:cxn ang="0">
                    <a:pos x="3746" y="0"/>
                  </a:cxn>
                  <a:cxn ang="0">
                    <a:pos x="3998" y="140"/>
                  </a:cxn>
                  <a:cxn ang="0">
                    <a:pos x="4165" y="304"/>
                  </a:cxn>
                  <a:cxn ang="0">
                    <a:pos x="4588" y="394"/>
                  </a:cxn>
                  <a:cxn ang="0">
                    <a:pos x="5075" y="554"/>
                  </a:cxn>
                  <a:cxn ang="0">
                    <a:pos x="5286" y="917"/>
                  </a:cxn>
                  <a:cxn ang="0">
                    <a:pos x="5858" y="977"/>
                  </a:cxn>
                  <a:cxn ang="0">
                    <a:pos x="5833" y="1302"/>
                  </a:cxn>
                  <a:cxn ang="0">
                    <a:pos x="5769" y="1556"/>
                  </a:cxn>
                  <a:cxn ang="0">
                    <a:pos x="5578" y="1756"/>
                  </a:cxn>
                  <a:cxn ang="0">
                    <a:pos x="5774" y="2066"/>
                  </a:cxn>
                  <a:cxn ang="0">
                    <a:pos x="5568" y="2110"/>
                  </a:cxn>
                  <a:cxn ang="0">
                    <a:pos x="5370" y="2130"/>
                  </a:cxn>
                  <a:cxn ang="0">
                    <a:pos x="5258" y="2290"/>
                  </a:cxn>
                  <a:cxn ang="0">
                    <a:pos x="5301" y="2573"/>
                  </a:cxn>
                  <a:cxn ang="0">
                    <a:pos x="5258" y="2758"/>
                  </a:cxn>
                  <a:cxn ang="0">
                    <a:pos x="5095" y="3177"/>
                  </a:cxn>
                  <a:cxn ang="0">
                    <a:pos x="4750" y="3442"/>
                  </a:cxn>
                  <a:cxn ang="0">
                    <a:pos x="4564" y="3876"/>
                  </a:cxn>
                  <a:cxn ang="0">
                    <a:pos x="4455" y="4224"/>
                  </a:cxn>
                  <a:cxn ang="0">
                    <a:pos x="3884" y="4404"/>
                  </a:cxn>
                  <a:cxn ang="0">
                    <a:pos x="3116" y="4538"/>
                  </a:cxn>
                  <a:cxn ang="0">
                    <a:pos x="2641" y="4625"/>
                  </a:cxn>
                  <a:cxn ang="0">
                    <a:pos x="2403" y="4803"/>
                  </a:cxn>
                  <a:cxn ang="0">
                    <a:pos x="2290" y="4608"/>
                  </a:cxn>
                  <a:cxn ang="0">
                    <a:pos x="2211" y="4149"/>
                  </a:cxn>
                  <a:cxn ang="0">
                    <a:pos x="2240" y="3951"/>
                  </a:cxn>
                  <a:cxn ang="0">
                    <a:pos x="1945" y="3671"/>
                  </a:cxn>
                  <a:cxn ang="0">
                    <a:pos x="1950" y="3282"/>
                  </a:cxn>
                  <a:cxn ang="0">
                    <a:pos x="1419" y="3216"/>
                  </a:cxn>
                  <a:cxn ang="0">
                    <a:pos x="961" y="3294"/>
                  </a:cxn>
                  <a:cxn ang="0">
                    <a:pos x="530" y="3087"/>
                  </a:cxn>
                  <a:cxn ang="0">
                    <a:pos x="34" y="3123"/>
                  </a:cxn>
                  <a:cxn ang="0">
                    <a:pos x="71" y="2818"/>
                  </a:cxn>
                  <a:cxn ang="0">
                    <a:pos x="404" y="2411"/>
                  </a:cxn>
                  <a:cxn ang="0">
                    <a:pos x="931" y="2366"/>
                  </a:cxn>
                  <a:cxn ang="0">
                    <a:pos x="1561" y="2261"/>
                  </a:cxn>
                  <a:cxn ang="0">
                    <a:pos x="1889" y="2183"/>
                  </a:cxn>
                  <a:cxn ang="0">
                    <a:pos x="2009" y="2005"/>
                  </a:cxn>
                  <a:cxn ang="0">
                    <a:pos x="1948" y="1813"/>
                  </a:cxn>
                  <a:cxn ang="0">
                    <a:pos x="2111" y="1546"/>
                  </a:cxn>
                  <a:cxn ang="0">
                    <a:pos x="2004" y="1242"/>
                  </a:cxn>
                  <a:cxn ang="0">
                    <a:pos x="2329" y="865"/>
                  </a:cxn>
                  <a:cxn ang="0">
                    <a:pos x="2344" y="529"/>
                  </a:cxn>
                  <a:cxn ang="0">
                    <a:pos x="2536" y="479"/>
                  </a:cxn>
                  <a:cxn ang="0">
                    <a:pos x="2556" y="276"/>
                  </a:cxn>
                  <a:cxn ang="0">
                    <a:pos x="2816" y="409"/>
                  </a:cxn>
                </a:cxnLst>
                <a:rect l="0" t="0" r="r" b="b"/>
                <a:pathLst>
                  <a:path w="6025" h="4803">
                    <a:moveTo>
                      <a:pt x="2816" y="409"/>
                    </a:moveTo>
                    <a:lnTo>
                      <a:pt x="2846" y="526"/>
                    </a:lnTo>
                    <a:lnTo>
                      <a:pt x="3019" y="446"/>
                    </a:lnTo>
                    <a:lnTo>
                      <a:pt x="3235" y="284"/>
                    </a:lnTo>
                    <a:lnTo>
                      <a:pt x="3500" y="95"/>
                    </a:lnTo>
                    <a:lnTo>
                      <a:pt x="3746" y="0"/>
                    </a:lnTo>
                    <a:lnTo>
                      <a:pt x="3968" y="45"/>
                    </a:lnTo>
                    <a:lnTo>
                      <a:pt x="3998" y="140"/>
                    </a:lnTo>
                    <a:lnTo>
                      <a:pt x="3983" y="284"/>
                    </a:lnTo>
                    <a:lnTo>
                      <a:pt x="4165" y="304"/>
                    </a:lnTo>
                    <a:lnTo>
                      <a:pt x="4351" y="245"/>
                    </a:lnTo>
                    <a:lnTo>
                      <a:pt x="4588" y="394"/>
                    </a:lnTo>
                    <a:lnTo>
                      <a:pt x="4859" y="529"/>
                    </a:lnTo>
                    <a:lnTo>
                      <a:pt x="5075" y="554"/>
                    </a:lnTo>
                    <a:lnTo>
                      <a:pt x="5208" y="694"/>
                    </a:lnTo>
                    <a:lnTo>
                      <a:pt x="5286" y="917"/>
                    </a:lnTo>
                    <a:lnTo>
                      <a:pt x="5504" y="857"/>
                    </a:lnTo>
                    <a:lnTo>
                      <a:pt x="5858" y="977"/>
                    </a:lnTo>
                    <a:lnTo>
                      <a:pt x="6025" y="1142"/>
                    </a:lnTo>
                    <a:lnTo>
                      <a:pt x="5833" y="1302"/>
                    </a:lnTo>
                    <a:lnTo>
                      <a:pt x="5754" y="1441"/>
                    </a:lnTo>
                    <a:lnTo>
                      <a:pt x="5769" y="1556"/>
                    </a:lnTo>
                    <a:lnTo>
                      <a:pt x="5636" y="1571"/>
                    </a:lnTo>
                    <a:lnTo>
                      <a:pt x="5578" y="1756"/>
                    </a:lnTo>
                    <a:lnTo>
                      <a:pt x="5596" y="1915"/>
                    </a:lnTo>
                    <a:lnTo>
                      <a:pt x="5774" y="2066"/>
                    </a:lnTo>
                    <a:lnTo>
                      <a:pt x="5716" y="2171"/>
                    </a:lnTo>
                    <a:lnTo>
                      <a:pt x="5568" y="2110"/>
                    </a:lnTo>
                    <a:lnTo>
                      <a:pt x="5479" y="2145"/>
                    </a:lnTo>
                    <a:lnTo>
                      <a:pt x="5370" y="2130"/>
                    </a:lnTo>
                    <a:lnTo>
                      <a:pt x="5356" y="2245"/>
                    </a:lnTo>
                    <a:lnTo>
                      <a:pt x="5258" y="2290"/>
                    </a:lnTo>
                    <a:lnTo>
                      <a:pt x="5296" y="2413"/>
                    </a:lnTo>
                    <a:lnTo>
                      <a:pt x="5301" y="2573"/>
                    </a:lnTo>
                    <a:lnTo>
                      <a:pt x="5169" y="2648"/>
                    </a:lnTo>
                    <a:lnTo>
                      <a:pt x="5258" y="2758"/>
                    </a:lnTo>
                    <a:lnTo>
                      <a:pt x="5258" y="2967"/>
                    </a:lnTo>
                    <a:lnTo>
                      <a:pt x="5095" y="3177"/>
                    </a:lnTo>
                    <a:lnTo>
                      <a:pt x="4986" y="3382"/>
                    </a:lnTo>
                    <a:lnTo>
                      <a:pt x="4750" y="3442"/>
                    </a:lnTo>
                    <a:lnTo>
                      <a:pt x="4714" y="3711"/>
                    </a:lnTo>
                    <a:lnTo>
                      <a:pt x="4564" y="3876"/>
                    </a:lnTo>
                    <a:lnTo>
                      <a:pt x="4416" y="4114"/>
                    </a:lnTo>
                    <a:lnTo>
                      <a:pt x="4455" y="4224"/>
                    </a:lnTo>
                    <a:lnTo>
                      <a:pt x="4160" y="4354"/>
                    </a:lnTo>
                    <a:lnTo>
                      <a:pt x="3884" y="4404"/>
                    </a:lnTo>
                    <a:lnTo>
                      <a:pt x="3599" y="4384"/>
                    </a:lnTo>
                    <a:lnTo>
                      <a:pt x="3116" y="4538"/>
                    </a:lnTo>
                    <a:lnTo>
                      <a:pt x="2831" y="4653"/>
                    </a:lnTo>
                    <a:lnTo>
                      <a:pt x="2641" y="4625"/>
                    </a:lnTo>
                    <a:lnTo>
                      <a:pt x="2555" y="4763"/>
                    </a:lnTo>
                    <a:lnTo>
                      <a:pt x="2403" y="4803"/>
                    </a:lnTo>
                    <a:lnTo>
                      <a:pt x="2275" y="4718"/>
                    </a:lnTo>
                    <a:lnTo>
                      <a:pt x="2290" y="4608"/>
                    </a:lnTo>
                    <a:lnTo>
                      <a:pt x="2171" y="4504"/>
                    </a:lnTo>
                    <a:lnTo>
                      <a:pt x="2211" y="4149"/>
                    </a:lnTo>
                    <a:lnTo>
                      <a:pt x="2314" y="4029"/>
                    </a:lnTo>
                    <a:lnTo>
                      <a:pt x="2240" y="3951"/>
                    </a:lnTo>
                    <a:lnTo>
                      <a:pt x="2019" y="3936"/>
                    </a:lnTo>
                    <a:lnTo>
                      <a:pt x="1945" y="3671"/>
                    </a:lnTo>
                    <a:lnTo>
                      <a:pt x="2039" y="3536"/>
                    </a:lnTo>
                    <a:lnTo>
                      <a:pt x="1950" y="3282"/>
                    </a:lnTo>
                    <a:lnTo>
                      <a:pt x="1846" y="3163"/>
                    </a:lnTo>
                    <a:lnTo>
                      <a:pt x="1419" y="3216"/>
                    </a:lnTo>
                    <a:lnTo>
                      <a:pt x="1169" y="3216"/>
                    </a:lnTo>
                    <a:lnTo>
                      <a:pt x="961" y="3294"/>
                    </a:lnTo>
                    <a:lnTo>
                      <a:pt x="824" y="3096"/>
                    </a:lnTo>
                    <a:lnTo>
                      <a:pt x="530" y="3087"/>
                    </a:lnTo>
                    <a:lnTo>
                      <a:pt x="251" y="3023"/>
                    </a:lnTo>
                    <a:lnTo>
                      <a:pt x="34" y="3123"/>
                    </a:lnTo>
                    <a:lnTo>
                      <a:pt x="0" y="2987"/>
                    </a:lnTo>
                    <a:lnTo>
                      <a:pt x="71" y="2818"/>
                    </a:lnTo>
                    <a:lnTo>
                      <a:pt x="284" y="2606"/>
                    </a:lnTo>
                    <a:lnTo>
                      <a:pt x="404" y="2411"/>
                    </a:lnTo>
                    <a:lnTo>
                      <a:pt x="711" y="2363"/>
                    </a:lnTo>
                    <a:lnTo>
                      <a:pt x="931" y="2366"/>
                    </a:lnTo>
                    <a:lnTo>
                      <a:pt x="1151" y="2233"/>
                    </a:lnTo>
                    <a:lnTo>
                      <a:pt x="1561" y="2261"/>
                    </a:lnTo>
                    <a:lnTo>
                      <a:pt x="1670" y="2310"/>
                    </a:lnTo>
                    <a:lnTo>
                      <a:pt x="1889" y="2183"/>
                    </a:lnTo>
                    <a:lnTo>
                      <a:pt x="2076" y="2123"/>
                    </a:lnTo>
                    <a:lnTo>
                      <a:pt x="2009" y="2005"/>
                    </a:lnTo>
                    <a:lnTo>
                      <a:pt x="2051" y="1846"/>
                    </a:lnTo>
                    <a:lnTo>
                      <a:pt x="1948" y="1813"/>
                    </a:lnTo>
                    <a:lnTo>
                      <a:pt x="1935" y="1712"/>
                    </a:lnTo>
                    <a:lnTo>
                      <a:pt x="2111" y="1546"/>
                    </a:lnTo>
                    <a:lnTo>
                      <a:pt x="2128" y="1381"/>
                    </a:lnTo>
                    <a:lnTo>
                      <a:pt x="2004" y="1242"/>
                    </a:lnTo>
                    <a:lnTo>
                      <a:pt x="2109" y="1017"/>
                    </a:lnTo>
                    <a:lnTo>
                      <a:pt x="2329" y="865"/>
                    </a:lnTo>
                    <a:lnTo>
                      <a:pt x="2314" y="686"/>
                    </a:lnTo>
                    <a:lnTo>
                      <a:pt x="2344" y="529"/>
                    </a:lnTo>
                    <a:lnTo>
                      <a:pt x="2409" y="424"/>
                    </a:lnTo>
                    <a:lnTo>
                      <a:pt x="2536" y="479"/>
                    </a:lnTo>
                    <a:lnTo>
                      <a:pt x="2511" y="389"/>
                    </a:lnTo>
                    <a:lnTo>
                      <a:pt x="2556" y="276"/>
                    </a:lnTo>
                    <a:lnTo>
                      <a:pt x="2698" y="379"/>
                    </a:lnTo>
                    <a:lnTo>
                      <a:pt x="2816" y="40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5" name="Freeform 37">
                <a:extLst>
                  <a:ext uri="{FF2B5EF4-FFF2-40B4-BE49-F238E27FC236}">
                    <a16:creationId xmlns:a16="http://schemas.microsoft.com/office/drawing/2014/main" id="{FB2E28CD-7C8A-43B3-8496-7B1DFEA8F740}"/>
                  </a:ext>
                </a:extLst>
              </p:cNvPr>
              <p:cNvSpPr>
                <a:spLocks/>
              </p:cNvSpPr>
              <p:nvPr/>
            </p:nvSpPr>
            <p:spPr bwMode="auto">
              <a:xfrm>
                <a:off x="2561" y="2959"/>
                <a:ext cx="307" cy="180"/>
              </a:xfrm>
              <a:custGeom>
                <a:avLst/>
                <a:gdLst/>
                <a:ahLst/>
                <a:cxnLst>
                  <a:cxn ang="0">
                    <a:pos x="398" y="1169"/>
                  </a:cxn>
                  <a:cxn ang="0">
                    <a:pos x="613" y="1141"/>
                  </a:cxn>
                  <a:cxn ang="0">
                    <a:pos x="732" y="1051"/>
                  </a:cxn>
                  <a:cxn ang="0">
                    <a:pos x="879" y="1076"/>
                  </a:cxn>
                  <a:cxn ang="0">
                    <a:pos x="869" y="1196"/>
                  </a:cxn>
                  <a:cxn ang="0">
                    <a:pos x="1179" y="1181"/>
                  </a:cxn>
                  <a:cxn ang="0">
                    <a:pos x="1341" y="1211"/>
                  </a:cxn>
                  <a:cxn ang="0">
                    <a:pos x="1455" y="1141"/>
                  </a:cxn>
                  <a:cxn ang="0">
                    <a:pos x="1430" y="1031"/>
                  </a:cxn>
                  <a:cxn ang="0">
                    <a:pos x="1691" y="797"/>
                  </a:cxn>
                  <a:cxn ang="0">
                    <a:pos x="1956" y="717"/>
                  </a:cxn>
                  <a:cxn ang="0">
                    <a:pos x="1956" y="448"/>
                  </a:cxn>
                  <a:cxn ang="0">
                    <a:pos x="2048" y="288"/>
                  </a:cxn>
                  <a:cxn ang="0">
                    <a:pos x="1666" y="213"/>
                  </a:cxn>
                  <a:cxn ang="0">
                    <a:pos x="1646" y="94"/>
                  </a:cxn>
                  <a:cxn ang="0">
                    <a:pos x="1595" y="0"/>
                  </a:cxn>
                  <a:cxn ang="0">
                    <a:pos x="1451" y="158"/>
                  </a:cxn>
                  <a:cxn ang="0">
                    <a:pos x="1298" y="403"/>
                  </a:cxn>
                  <a:cxn ang="0">
                    <a:pos x="1338" y="514"/>
                  </a:cxn>
                  <a:cxn ang="0">
                    <a:pos x="1040" y="642"/>
                  </a:cxn>
                  <a:cxn ang="0">
                    <a:pos x="768" y="692"/>
                  </a:cxn>
                  <a:cxn ang="0">
                    <a:pos x="483" y="672"/>
                  </a:cxn>
                  <a:cxn ang="0">
                    <a:pos x="0" y="828"/>
                  </a:cxn>
                  <a:cxn ang="0">
                    <a:pos x="101" y="927"/>
                  </a:cxn>
                  <a:cxn ang="0">
                    <a:pos x="223" y="960"/>
                  </a:cxn>
                  <a:cxn ang="0">
                    <a:pos x="328" y="1042"/>
                  </a:cxn>
                  <a:cxn ang="0">
                    <a:pos x="398" y="1169"/>
                  </a:cxn>
                </a:cxnLst>
                <a:rect l="0" t="0" r="r" b="b"/>
                <a:pathLst>
                  <a:path w="2048" h="1211">
                    <a:moveTo>
                      <a:pt x="398" y="1169"/>
                    </a:moveTo>
                    <a:lnTo>
                      <a:pt x="613" y="1141"/>
                    </a:lnTo>
                    <a:lnTo>
                      <a:pt x="732" y="1051"/>
                    </a:lnTo>
                    <a:lnTo>
                      <a:pt x="879" y="1076"/>
                    </a:lnTo>
                    <a:lnTo>
                      <a:pt x="869" y="1196"/>
                    </a:lnTo>
                    <a:lnTo>
                      <a:pt x="1179" y="1181"/>
                    </a:lnTo>
                    <a:lnTo>
                      <a:pt x="1341" y="1211"/>
                    </a:lnTo>
                    <a:lnTo>
                      <a:pt x="1455" y="1141"/>
                    </a:lnTo>
                    <a:lnTo>
                      <a:pt x="1430" y="1031"/>
                    </a:lnTo>
                    <a:lnTo>
                      <a:pt x="1691" y="797"/>
                    </a:lnTo>
                    <a:lnTo>
                      <a:pt x="1956" y="717"/>
                    </a:lnTo>
                    <a:lnTo>
                      <a:pt x="1956" y="448"/>
                    </a:lnTo>
                    <a:lnTo>
                      <a:pt x="2048" y="288"/>
                    </a:lnTo>
                    <a:lnTo>
                      <a:pt x="1666" y="213"/>
                    </a:lnTo>
                    <a:lnTo>
                      <a:pt x="1646" y="94"/>
                    </a:lnTo>
                    <a:lnTo>
                      <a:pt x="1595" y="0"/>
                    </a:lnTo>
                    <a:lnTo>
                      <a:pt x="1451" y="158"/>
                    </a:lnTo>
                    <a:lnTo>
                      <a:pt x="1298" y="403"/>
                    </a:lnTo>
                    <a:lnTo>
                      <a:pt x="1338" y="514"/>
                    </a:lnTo>
                    <a:lnTo>
                      <a:pt x="1040" y="642"/>
                    </a:lnTo>
                    <a:lnTo>
                      <a:pt x="768" y="692"/>
                    </a:lnTo>
                    <a:lnTo>
                      <a:pt x="483" y="672"/>
                    </a:lnTo>
                    <a:lnTo>
                      <a:pt x="0" y="828"/>
                    </a:lnTo>
                    <a:lnTo>
                      <a:pt x="101" y="927"/>
                    </a:lnTo>
                    <a:lnTo>
                      <a:pt x="223" y="960"/>
                    </a:lnTo>
                    <a:lnTo>
                      <a:pt x="328" y="1042"/>
                    </a:lnTo>
                    <a:lnTo>
                      <a:pt x="398" y="116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6" name="Freeform 38">
                <a:extLst>
                  <a:ext uri="{FF2B5EF4-FFF2-40B4-BE49-F238E27FC236}">
                    <a16:creationId xmlns:a16="http://schemas.microsoft.com/office/drawing/2014/main" id="{56E581D5-0670-4A67-94C1-B99176F6BFA7}"/>
                  </a:ext>
                </a:extLst>
              </p:cNvPr>
              <p:cNvSpPr>
                <a:spLocks/>
              </p:cNvSpPr>
              <p:nvPr/>
            </p:nvSpPr>
            <p:spPr bwMode="auto">
              <a:xfrm>
                <a:off x="2800" y="2723"/>
                <a:ext cx="190" cy="279"/>
              </a:xfrm>
              <a:custGeom>
                <a:avLst/>
                <a:gdLst/>
                <a:ahLst/>
                <a:cxnLst>
                  <a:cxn ang="0">
                    <a:pos x="1265" y="254"/>
                  </a:cxn>
                  <a:cxn ang="0">
                    <a:pos x="1123" y="166"/>
                  </a:cxn>
                  <a:cxn ang="0">
                    <a:pos x="1000" y="61"/>
                  </a:cxn>
                  <a:cxn ang="0">
                    <a:pos x="849" y="0"/>
                  </a:cxn>
                  <a:cxn ang="0">
                    <a:pos x="763" y="34"/>
                  </a:cxn>
                  <a:cxn ang="0">
                    <a:pos x="655" y="21"/>
                  </a:cxn>
                  <a:cxn ang="0">
                    <a:pos x="643" y="131"/>
                  </a:cxn>
                  <a:cxn ang="0">
                    <a:pos x="545" y="181"/>
                  </a:cxn>
                  <a:cxn ang="0">
                    <a:pos x="585" y="304"/>
                  </a:cxn>
                  <a:cxn ang="0">
                    <a:pos x="590" y="464"/>
                  </a:cxn>
                  <a:cxn ang="0">
                    <a:pos x="455" y="537"/>
                  </a:cxn>
                  <a:cxn ang="0">
                    <a:pos x="543" y="644"/>
                  </a:cxn>
                  <a:cxn ang="0">
                    <a:pos x="540" y="864"/>
                  </a:cxn>
                  <a:cxn ang="0">
                    <a:pos x="382" y="1064"/>
                  </a:cxn>
                  <a:cxn ang="0">
                    <a:pos x="274" y="1272"/>
                  </a:cxn>
                  <a:cxn ang="0">
                    <a:pos x="35" y="1332"/>
                  </a:cxn>
                  <a:cxn ang="0">
                    <a:pos x="0" y="1605"/>
                  </a:cxn>
                  <a:cxn ang="0">
                    <a:pos x="50" y="1700"/>
                  </a:cxn>
                  <a:cxn ang="0">
                    <a:pos x="70" y="1815"/>
                  </a:cxn>
                  <a:cxn ang="0">
                    <a:pos x="450" y="1891"/>
                  </a:cxn>
                  <a:cxn ang="0">
                    <a:pos x="598" y="1696"/>
                  </a:cxn>
                  <a:cxn ang="0">
                    <a:pos x="854" y="1527"/>
                  </a:cxn>
                  <a:cxn ang="0">
                    <a:pos x="883" y="1362"/>
                  </a:cxn>
                  <a:cxn ang="0">
                    <a:pos x="996" y="1113"/>
                  </a:cxn>
                  <a:cxn ang="0">
                    <a:pos x="1193" y="943"/>
                  </a:cxn>
                  <a:cxn ang="0">
                    <a:pos x="1203" y="554"/>
                  </a:cxn>
                  <a:cxn ang="0">
                    <a:pos x="1265" y="254"/>
                  </a:cxn>
                </a:cxnLst>
                <a:rect l="0" t="0" r="r" b="b"/>
                <a:pathLst>
                  <a:path w="1265" h="1891">
                    <a:moveTo>
                      <a:pt x="1265" y="254"/>
                    </a:moveTo>
                    <a:lnTo>
                      <a:pt x="1123" y="166"/>
                    </a:lnTo>
                    <a:lnTo>
                      <a:pt x="1000" y="61"/>
                    </a:lnTo>
                    <a:lnTo>
                      <a:pt x="849" y="0"/>
                    </a:lnTo>
                    <a:lnTo>
                      <a:pt x="763" y="34"/>
                    </a:lnTo>
                    <a:lnTo>
                      <a:pt x="655" y="21"/>
                    </a:lnTo>
                    <a:lnTo>
                      <a:pt x="643" y="131"/>
                    </a:lnTo>
                    <a:lnTo>
                      <a:pt x="545" y="181"/>
                    </a:lnTo>
                    <a:lnTo>
                      <a:pt x="585" y="304"/>
                    </a:lnTo>
                    <a:lnTo>
                      <a:pt x="590" y="464"/>
                    </a:lnTo>
                    <a:lnTo>
                      <a:pt x="455" y="537"/>
                    </a:lnTo>
                    <a:lnTo>
                      <a:pt x="543" y="644"/>
                    </a:lnTo>
                    <a:lnTo>
                      <a:pt x="540" y="864"/>
                    </a:lnTo>
                    <a:lnTo>
                      <a:pt x="382" y="1064"/>
                    </a:lnTo>
                    <a:lnTo>
                      <a:pt x="274" y="1272"/>
                    </a:lnTo>
                    <a:lnTo>
                      <a:pt x="35" y="1332"/>
                    </a:lnTo>
                    <a:lnTo>
                      <a:pt x="0" y="1605"/>
                    </a:lnTo>
                    <a:lnTo>
                      <a:pt x="50" y="1700"/>
                    </a:lnTo>
                    <a:lnTo>
                      <a:pt x="70" y="1815"/>
                    </a:lnTo>
                    <a:lnTo>
                      <a:pt x="450" y="1891"/>
                    </a:lnTo>
                    <a:lnTo>
                      <a:pt x="598" y="1696"/>
                    </a:lnTo>
                    <a:lnTo>
                      <a:pt x="854" y="1527"/>
                    </a:lnTo>
                    <a:lnTo>
                      <a:pt x="883" y="1362"/>
                    </a:lnTo>
                    <a:lnTo>
                      <a:pt x="996" y="1113"/>
                    </a:lnTo>
                    <a:lnTo>
                      <a:pt x="1193" y="943"/>
                    </a:lnTo>
                    <a:lnTo>
                      <a:pt x="1203" y="554"/>
                    </a:lnTo>
                    <a:lnTo>
                      <a:pt x="1265" y="254"/>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7" name="Freeform 39">
                <a:extLst>
                  <a:ext uri="{FF2B5EF4-FFF2-40B4-BE49-F238E27FC236}">
                    <a16:creationId xmlns:a16="http://schemas.microsoft.com/office/drawing/2014/main" id="{259AA506-85F1-457C-ADBD-FB0D92033AE9}"/>
                  </a:ext>
                </a:extLst>
              </p:cNvPr>
              <p:cNvSpPr>
                <a:spLocks/>
              </p:cNvSpPr>
              <p:nvPr/>
            </p:nvSpPr>
            <p:spPr bwMode="auto">
              <a:xfrm>
                <a:off x="2488" y="1949"/>
                <a:ext cx="726" cy="811"/>
              </a:xfrm>
              <a:custGeom>
                <a:avLst/>
                <a:gdLst/>
                <a:ahLst/>
                <a:cxnLst>
                  <a:cxn ang="0">
                    <a:pos x="148" y="1143"/>
                  </a:cxn>
                  <a:cxn ang="0">
                    <a:pos x="74" y="1616"/>
                  </a:cxn>
                  <a:cxn ang="0">
                    <a:pos x="261" y="1661"/>
                  </a:cxn>
                  <a:cxn ang="0">
                    <a:pos x="251" y="1780"/>
                  </a:cxn>
                  <a:cxn ang="0">
                    <a:pos x="54" y="1995"/>
                  </a:cxn>
                  <a:cxn ang="0">
                    <a:pos x="143" y="2304"/>
                  </a:cxn>
                  <a:cxn ang="0">
                    <a:pos x="188" y="2624"/>
                  </a:cxn>
                  <a:cxn ang="0">
                    <a:pos x="163" y="3098"/>
                  </a:cxn>
                  <a:cxn ang="0">
                    <a:pos x="253" y="3399"/>
                  </a:cxn>
                  <a:cxn ang="0">
                    <a:pos x="216" y="3657"/>
                  </a:cxn>
                  <a:cxn ang="0">
                    <a:pos x="866" y="3223"/>
                  </a:cxn>
                  <a:cxn ang="0">
                    <a:pos x="1340" y="3172"/>
                  </a:cxn>
                  <a:cxn ang="0">
                    <a:pos x="1354" y="3412"/>
                  </a:cxn>
                  <a:cxn ang="0">
                    <a:pos x="1725" y="3372"/>
                  </a:cxn>
                  <a:cxn ang="0">
                    <a:pos x="2233" y="3657"/>
                  </a:cxn>
                  <a:cxn ang="0">
                    <a:pos x="2583" y="3829"/>
                  </a:cxn>
                  <a:cxn ang="0">
                    <a:pos x="2873" y="3987"/>
                  </a:cxn>
                  <a:cxn ang="0">
                    <a:pos x="3395" y="4269"/>
                  </a:cxn>
                  <a:cxn ang="0">
                    <a:pos x="3125" y="4569"/>
                  </a:cxn>
                  <a:cxn ang="0">
                    <a:pos x="3005" y="4699"/>
                  </a:cxn>
                  <a:cxn ang="0">
                    <a:pos x="2968" y="5043"/>
                  </a:cxn>
                  <a:cxn ang="0">
                    <a:pos x="3087" y="5297"/>
                  </a:cxn>
                  <a:cxn ang="0">
                    <a:pos x="3352" y="5492"/>
                  </a:cxn>
                  <a:cxn ang="0">
                    <a:pos x="3692" y="5228"/>
                  </a:cxn>
                  <a:cxn ang="0">
                    <a:pos x="3745" y="4549"/>
                  </a:cxn>
                  <a:cxn ang="0">
                    <a:pos x="3893" y="3532"/>
                  </a:cxn>
                  <a:cxn ang="0">
                    <a:pos x="4012" y="2903"/>
                  </a:cxn>
                  <a:cxn ang="0">
                    <a:pos x="4149" y="2594"/>
                  </a:cxn>
                  <a:cxn ang="0">
                    <a:pos x="4208" y="2349"/>
                  </a:cxn>
                  <a:cxn ang="0">
                    <a:pos x="4410" y="2399"/>
                  </a:cxn>
                  <a:cxn ang="0">
                    <a:pos x="4735" y="2040"/>
                  </a:cxn>
                  <a:cxn ang="0">
                    <a:pos x="4725" y="1741"/>
                  </a:cxn>
                  <a:cxn ang="0">
                    <a:pos x="4503" y="1441"/>
                  </a:cxn>
                  <a:cxn ang="0">
                    <a:pos x="4637" y="1256"/>
                  </a:cxn>
                  <a:cxn ang="0">
                    <a:pos x="4754" y="913"/>
                  </a:cxn>
                  <a:cxn ang="0">
                    <a:pos x="4474" y="294"/>
                  </a:cxn>
                  <a:cxn ang="0">
                    <a:pos x="4218" y="225"/>
                  </a:cxn>
                  <a:cxn ang="0">
                    <a:pos x="3677" y="140"/>
                  </a:cxn>
                  <a:cxn ang="0">
                    <a:pos x="3440" y="299"/>
                  </a:cxn>
                  <a:cxn ang="0">
                    <a:pos x="3214" y="484"/>
                  </a:cxn>
                  <a:cxn ang="0">
                    <a:pos x="3110" y="284"/>
                  </a:cxn>
                  <a:cxn ang="0">
                    <a:pos x="2879" y="60"/>
                  </a:cxn>
                  <a:cxn ang="0">
                    <a:pos x="2475" y="349"/>
                  </a:cxn>
                  <a:cxn ang="0">
                    <a:pos x="2091" y="529"/>
                  </a:cxn>
                  <a:cxn ang="0">
                    <a:pos x="1826" y="469"/>
                  </a:cxn>
                  <a:cxn ang="0">
                    <a:pos x="1619" y="404"/>
                  </a:cxn>
                  <a:cxn ang="0">
                    <a:pos x="1580" y="629"/>
                  </a:cxn>
                  <a:cxn ang="0">
                    <a:pos x="1508" y="935"/>
                  </a:cxn>
                  <a:cxn ang="0">
                    <a:pos x="1168" y="1085"/>
                  </a:cxn>
                  <a:cxn ang="0">
                    <a:pos x="868" y="1258"/>
                  </a:cxn>
                  <a:cxn ang="0">
                    <a:pos x="630" y="1108"/>
                  </a:cxn>
                  <a:cxn ang="0">
                    <a:pos x="388" y="966"/>
                  </a:cxn>
                </a:cxnLst>
                <a:rect l="0" t="0" r="r" b="b"/>
                <a:pathLst>
                  <a:path w="4852" h="5492">
                    <a:moveTo>
                      <a:pt x="388" y="966"/>
                    </a:moveTo>
                    <a:lnTo>
                      <a:pt x="148" y="1143"/>
                    </a:lnTo>
                    <a:lnTo>
                      <a:pt x="0" y="1501"/>
                    </a:lnTo>
                    <a:lnTo>
                      <a:pt x="74" y="1616"/>
                    </a:lnTo>
                    <a:lnTo>
                      <a:pt x="188" y="1616"/>
                    </a:lnTo>
                    <a:lnTo>
                      <a:pt x="261" y="1661"/>
                    </a:lnTo>
                    <a:lnTo>
                      <a:pt x="158" y="1750"/>
                    </a:lnTo>
                    <a:lnTo>
                      <a:pt x="251" y="1780"/>
                    </a:lnTo>
                    <a:lnTo>
                      <a:pt x="216" y="1815"/>
                    </a:lnTo>
                    <a:lnTo>
                      <a:pt x="54" y="1995"/>
                    </a:lnTo>
                    <a:lnTo>
                      <a:pt x="163" y="2175"/>
                    </a:lnTo>
                    <a:lnTo>
                      <a:pt x="143" y="2304"/>
                    </a:lnTo>
                    <a:lnTo>
                      <a:pt x="216" y="2384"/>
                    </a:lnTo>
                    <a:lnTo>
                      <a:pt x="188" y="2624"/>
                    </a:lnTo>
                    <a:lnTo>
                      <a:pt x="99" y="2933"/>
                    </a:lnTo>
                    <a:lnTo>
                      <a:pt x="163" y="3098"/>
                    </a:lnTo>
                    <a:lnTo>
                      <a:pt x="246" y="3203"/>
                    </a:lnTo>
                    <a:lnTo>
                      <a:pt x="253" y="3399"/>
                    </a:lnTo>
                    <a:lnTo>
                      <a:pt x="189" y="3538"/>
                    </a:lnTo>
                    <a:lnTo>
                      <a:pt x="216" y="3657"/>
                    </a:lnTo>
                    <a:lnTo>
                      <a:pt x="391" y="3572"/>
                    </a:lnTo>
                    <a:lnTo>
                      <a:pt x="866" y="3223"/>
                    </a:lnTo>
                    <a:lnTo>
                      <a:pt x="1118" y="3129"/>
                    </a:lnTo>
                    <a:lnTo>
                      <a:pt x="1340" y="3172"/>
                    </a:lnTo>
                    <a:lnTo>
                      <a:pt x="1369" y="3267"/>
                    </a:lnTo>
                    <a:lnTo>
                      <a:pt x="1354" y="3412"/>
                    </a:lnTo>
                    <a:lnTo>
                      <a:pt x="1535" y="3432"/>
                    </a:lnTo>
                    <a:lnTo>
                      <a:pt x="1725" y="3372"/>
                    </a:lnTo>
                    <a:lnTo>
                      <a:pt x="1945" y="3514"/>
                    </a:lnTo>
                    <a:lnTo>
                      <a:pt x="2233" y="3657"/>
                    </a:lnTo>
                    <a:lnTo>
                      <a:pt x="2453" y="3684"/>
                    </a:lnTo>
                    <a:lnTo>
                      <a:pt x="2583" y="3829"/>
                    </a:lnTo>
                    <a:lnTo>
                      <a:pt x="2660" y="4047"/>
                    </a:lnTo>
                    <a:lnTo>
                      <a:pt x="2873" y="3987"/>
                    </a:lnTo>
                    <a:lnTo>
                      <a:pt x="3230" y="4104"/>
                    </a:lnTo>
                    <a:lnTo>
                      <a:pt x="3395" y="4269"/>
                    </a:lnTo>
                    <a:lnTo>
                      <a:pt x="3203" y="4429"/>
                    </a:lnTo>
                    <a:lnTo>
                      <a:pt x="3125" y="4569"/>
                    </a:lnTo>
                    <a:lnTo>
                      <a:pt x="3140" y="4684"/>
                    </a:lnTo>
                    <a:lnTo>
                      <a:pt x="3005" y="4699"/>
                    </a:lnTo>
                    <a:lnTo>
                      <a:pt x="2948" y="4883"/>
                    </a:lnTo>
                    <a:lnTo>
                      <a:pt x="2968" y="5043"/>
                    </a:lnTo>
                    <a:lnTo>
                      <a:pt x="3145" y="5193"/>
                    </a:lnTo>
                    <a:lnTo>
                      <a:pt x="3087" y="5297"/>
                    </a:lnTo>
                    <a:lnTo>
                      <a:pt x="3204" y="5402"/>
                    </a:lnTo>
                    <a:lnTo>
                      <a:pt x="3352" y="5492"/>
                    </a:lnTo>
                    <a:lnTo>
                      <a:pt x="3465" y="5372"/>
                    </a:lnTo>
                    <a:lnTo>
                      <a:pt x="3692" y="5228"/>
                    </a:lnTo>
                    <a:lnTo>
                      <a:pt x="3662" y="4973"/>
                    </a:lnTo>
                    <a:lnTo>
                      <a:pt x="3745" y="4549"/>
                    </a:lnTo>
                    <a:lnTo>
                      <a:pt x="3913" y="4221"/>
                    </a:lnTo>
                    <a:lnTo>
                      <a:pt x="3893" y="3532"/>
                    </a:lnTo>
                    <a:lnTo>
                      <a:pt x="3967" y="3103"/>
                    </a:lnTo>
                    <a:lnTo>
                      <a:pt x="4012" y="2903"/>
                    </a:lnTo>
                    <a:lnTo>
                      <a:pt x="3987" y="2724"/>
                    </a:lnTo>
                    <a:lnTo>
                      <a:pt x="4149" y="2594"/>
                    </a:lnTo>
                    <a:lnTo>
                      <a:pt x="4114" y="2424"/>
                    </a:lnTo>
                    <a:lnTo>
                      <a:pt x="4208" y="2349"/>
                    </a:lnTo>
                    <a:lnTo>
                      <a:pt x="4277" y="2534"/>
                    </a:lnTo>
                    <a:lnTo>
                      <a:pt x="4410" y="2399"/>
                    </a:lnTo>
                    <a:lnTo>
                      <a:pt x="4548" y="2245"/>
                    </a:lnTo>
                    <a:lnTo>
                      <a:pt x="4735" y="2040"/>
                    </a:lnTo>
                    <a:lnTo>
                      <a:pt x="4852" y="1777"/>
                    </a:lnTo>
                    <a:lnTo>
                      <a:pt x="4725" y="1741"/>
                    </a:lnTo>
                    <a:lnTo>
                      <a:pt x="4573" y="1621"/>
                    </a:lnTo>
                    <a:lnTo>
                      <a:pt x="4503" y="1441"/>
                    </a:lnTo>
                    <a:lnTo>
                      <a:pt x="4484" y="1256"/>
                    </a:lnTo>
                    <a:lnTo>
                      <a:pt x="4637" y="1256"/>
                    </a:lnTo>
                    <a:lnTo>
                      <a:pt x="4720" y="1183"/>
                    </a:lnTo>
                    <a:lnTo>
                      <a:pt x="4754" y="913"/>
                    </a:lnTo>
                    <a:lnTo>
                      <a:pt x="4637" y="749"/>
                    </a:lnTo>
                    <a:lnTo>
                      <a:pt x="4474" y="294"/>
                    </a:lnTo>
                    <a:lnTo>
                      <a:pt x="4342" y="304"/>
                    </a:lnTo>
                    <a:lnTo>
                      <a:pt x="4218" y="225"/>
                    </a:lnTo>
                    <a:lnTo>
                      <a:pt x="3893" y="0"/>
                    </a:lnTo>
                    <a:lnTo>
                      <a:pt x="3677" y="140"/>
                    </a:lnTo>
                    <a:lnTo>
                      <a:pt x="3618" y="274"/>
                    </a:lnTo>
                    <a:lnTo>
                      <a:pt x="3440" y="299"/>
                    </a:lnTo>
                    <a:lnTo>
                      <a:pt x="3382" y="434"/>
                    </a:lnTo>
                    <a:lnTo>
                      <a:pt x="3214" y="484"/>
                    </a:lnTo>
                    <a:lnTo>
                      <a:pt x="3204" y="379"/>
                    </a:lnTo>
                    <a:lnTo>
                      <a:pt x="3110" y="284"/>
                    </a:lnTo>
                    <a:lnTo>
                      <a:pt x="3110" y="150"/>
                    </a:lnTo>
                    <a:lnTo>
                      <a:pt x="2879" y="60"/>
                    </a:lnTo>
                    <a:lnTo>
                      <a:pt x="2609" y="359"/>
                    </a:lnTo>
                    <a:lnTo>
                      <a:pt x="2475" y="349"/>
                    </a:lnTo>
                    <a:lnTo>
                      <a:pt x="2304" y="394"/>
                    </a:lnTo>
                    <a:lnTo>
                      <a:pt x="2091" y="529"/>
                    </a:lnTo>
                    <a:lnTo>
                      <a:pt x="1929" y="424"/>
                    </a:lnTo>
                    <a:lnTo>
                      <a:pt x="1826" y="469"/>
                    </a:lnTo>
                    <a:lnTo>
                      <a:pt x="1723" y="404"/>
                    </a:lnTo>
                    <a:lnTo>
                      <a:pt x="1619" y="404"/>
                    </a:lnTo>
                    <a:lnTo>
                      <a:pt x="1501" y="469"/>
                    </a:lnTo>
                    <a:lnTo>
                      <a:pt x="1580" y="629"/>
                    </a:lnTo>
                    <a:lnTo>
                      <a:pt x="1580" y="808"/>
                    </a:lnTo>
                    <a:lnTo>
                      <a:pt x="1508" y="935"/>
                    </a:lnTo>
                    <a:lnTo>
                      <a:pt x="1329" y="1138"/>
                    </a:lnTo>
                    <a:lnTo>
                      <a:pt x="1168" y="1085"/>
                    </a:lnTo>
                    <a:lnTo>
                      <a:pt x="1040" y="1184"/>
                    </a:lnTo>
                    <a:lnTo>
                      <a:pt x="868" y="1258"/>
                    </a:lnTo>
                    <a:lnTo>
                      <a:pt x="718" y="1214"/>
                    </a:lnTo>
                    <a:lnTo>
                      <a:pt x="630" y="1108"/>
                    </a:lnTo>
                    <a:lnTo>
                      <a:pt x="571" y="948"/>
                    </a:lnTo>
                    <a:lnTo>
                      <a:pt x="388" y="96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8" name="Freeform 40">
                <a:extLst>
                  <a:ext uri="{FF2B5EF4-FFF2-40B4-BE49-F238E27FC236}">
                    <a16:creationId xmlns:a16="http://schemas.microsoft.com/office/drawing/2014/main" id="{61DD4CE4-EED0-4562-9C71-6335BBE1114F}"/>
                  </a:ext>
                </a:extLst>
              </p:cNvPr>
              <p:cNvSpPr>
                <a:spLocks/>
              </p:cNvSpPr>
              <p:nvPr/>
            </p:nvSpPr>
            <p:spPr bwMode="auto">
              <a:xfrm>
                <a:off x="2154" y="1659"/>
                <a:ext cx="392" cy="667"/>
              </a:xfrm>
              <a:custGeom>
                <a:avLst/>
                <a:gdLst/>
                <a:ahLst/>
                <a:cxnLst>
                  <a:cxn ang="0">
                    <a:pos x="1487" y="65"/>
                  </a:cxn>
                  <a:cxn ang="0">
                    <a:pos x="1723" y="110"/>
                  </a:cxn>
                  <a:cxn ang="0">
                    <a:pos x="1862" y="369"/>
                  </a:cxn>
                  <a:cxn ang="0">
                    <a:pos x="1935" y="664"/>
                  </a:cxn>
                  <a:cxn ang="0">
                    <a:pos x="1817" y="1023"/>
                  </a:cxn>
                  <a:cxn ang="0">
                    <a:pos x="1832" y="1208"/>
                  </a:cxn>
                  <a:cxn ang="0">
                    <a:pos x="1979" y="1477"/>
                  </a:cxn>
                  <a:cxn ang="0">
                    <a:pos x="2363" y="1567"/>
                  </a:cxn>
                  <a:cxn ang="0">
                    <a:pos x="2344" y="1805"/>
                  </a:cxn>
                  <a:cxn ang="0">
                    <a:pos x="2137" y="1906"/>
                  </a:cxn>
                  <a:cxn ang="0">
                    <a:pos x="2009" y="2146"/>
                  </a:cxn>
                  <a:cxn ang="0">
                    <a:pos x="2172" y="2429"/>
                  </a:cxn>
                  <a:cxn ang="0">
                    <a:pos x="2245" y="2579"/>
                  </a:cxn>
                  <a:cxn ang="0">
                    <a:pos x="2373" y="2803"/>
                  </a:cxn>
                  <a:cxn ang="0">
                    <a:pos x="2557" y="2876"/>
                  </a:cxn>
                  <a:cxn ang="0">
                    <a:pos x="2377" y="3108"/>
                  </a:cxn>
                  <a:cxn ang="0">
                    <a:pos x="2304" y="3582"/>
                  </a:cxn>
                  <a:cxn ang="0">
                    <a:pos x="2490" y="3626"/>
                  </a:cxn>
                  <a:cxn ang="0">
                    <a:pos x="2479" y="3746"/>
                  </a:cxn>
                  <a:cxn ang="0">
                    <a:pos x="2392" y="4140"/>
                  </a:cxn>
                  <a:cxn ang="0">
                    <a:pos x="2213" y="4274"/>
                  </a:cxn>
                  <a:cxn ang="0">
                    <a:pos x="1625" y="4515"/>
                  </a:cxn>
                  <a:cxn ang="0">
                    <a:pos x="1354" y="4390"/>
                  </a:cxn>
                  <a:cxn ang="0">
                    <a:pos x="1019" y="4480"/>
                  </a:cxn>
                  <a:cxn ang="0">
                    <a:pos x="960" y="4211"/>
                  </a:cxn>
                  <a:cxn ang="0">
                    <a:pos x="778" y="4261"/>
                  </a:cxn>
                  <a:cxn ang="0">
                    <a:pos x="623" y="4462"/>
                  </a:cxn>
                  <a:cxn ang="0">
                    <a:pos x="221" y="4285"/>
                  </a:cxn>
                  <a:cxn ang="0">
                    <a:pos x="136" y="4126"/>
                  </a:cxn>
                  <a:cxn ang="0">
                    <a:pos x="0" y="4182"/>
                  </a:cxn>
                  <a:cxn ang="0">
                    <a:pos x="10" y="3467"/>
                  </a:cxn>
                  <a:cxn ang="0">
                    <a:pos x="325" y="2599"/>
                  </a:cxn>
                  <a:cxn ang="0">
                    <a:pos x="561" y="2116"/>
                  </a:cxn>
                  <a:cxn ang="0">
                    <a:pos x="925" y="1562"/>
                  </a:cxn>
                  <a:cxn ang="0">
                    <a:pos x="881" y="1148"/>
                  </a:cxn>
                  <a:cxn ang="0">
                    <a:pos x="1118" y="873"/>
                  </a:cxn>
                  <a:cxn ang="0">
                    <a:pos x="1413" y="339"/>
                  </a:cxn>
                  <a:cxn ang="0">
                    <a:pos x="1384" y="145"/>
                  </a:cxn>
                  <a:cxn ang="0">
                    <a:pos x="1344" y="0"/>
                  </a:cxn>
                </a:cxnLst>
                <a:rect l="0" t="0" r="r" b="b"/>
                <a:pathLst>
                  <a:path w="2618" h="4515">
                    <a:moveTo>
                      <a:pt x="1344" y="0"/>
                    </a:moveTo>
                    <a:lnTo>
                      <a:pt x="1487" y="65"/>
                    </a:lnTo>
                    <a:lnTo>
                      <a:pt x="1595" y="35"/>
                    </a:lnTo>
                    <a:lnTo>
                      <a:pt x="1723" y="110"/>
                    </a:lnTo>
                    <a:lnTo>
                      <a:pt x="1870" y="185"/>
                    </a:lnTo>
                    <a:lnTo>
                      <a:pt x="1862" y="369"/>
                    </a:lnTo>
                    <a:lnTo>
                      <a:pt x="1890" y="549"/>
                    </a:lnTo>
                    <a:lnTo>
                      <a:pt x="1935" y="664"/>
                    </a:lnTo>
                    <a:lnTo>
                      <a:pt x="1847" y="788"/>
                    </a:lnTo>
                    <a:lnTo>
                      <a:pt x="1817" y="1023"/>
                    </a:lnTo>
                    <a:lnTo>
                      <a:pt x="1713" y="1163"/>
                    </a:lnTo>
                    <a:lnTo>
                      <a:pt x="1832" y="1208"/>
                    </a:lnTo>
                    <a:lnTo>
                      <a:pt x="1847" y="1337"/>
                    </a:lnTo>
                    <a:lnTo>
                      <a:pt x="1979" y="1477"/>
                    </a:lnTo>
                    <a:lnTo>
                      <a:pt x="2127" y="1592"/>
                    </a:lnTo>
                    <a:lnTo>
                      <a:pt x="2363" y="1567"/>
                    </a:lnTo>
                    <a:lnTo>
                      <a:pt x="2378" y="1682"/>
                    </a:lnTo>
                    <a:lnTo>
                      <a:pt x="2344" y="1805"/>
                    </a:lnTo>
                    <a:lnTo>
                      <a:pt x="2200" y="1816"/>
                    </a:lnTo>
                    <a:lnTo>
                      <a:pt x="2137" y="1906"/>
                    </a:lnTo>
                    <a:lnTo>
                      <a:pt x="2122" y="2076"/>
                    </a:lnTo>
                    <a:lnTo>
                      <a:pt x="2009" y="2146"/>
                    </a:lnTo>
                    <a:lnTo>
                      <a:pt x="2137" y="2279"/>
                    </a:lnTo>
                    <a:lnTo>
                      <a:pt x="2172" y="2429"/>
                    </a:lnTo>
                    <a:lnTo>
                      <a:pt x="2314" y="2464"/>
                    </a:lnTo>
                    <a:lnTo>
                      <a:pt x="2245" y="2579"/>
                    </a:lnTo>
                    <a:lnTo>
                      <a:pt x="2314" y="2674"/>
                    </a:lnTo>
                    <a:lnTo>
                      <a:pt x="2373" y="2803"/>
                    </a:lnTo>
                    <a:lnTo>
                      <a:pt x="2497" y="2823"/>
                    </a:lnTo>
                    <a:lnTo>
                      <a:pt x="2557" y="2876"/>
                    </a:lnTo>
                    <a:lnTo>
                      <a:pt x="2618" y="2931"/>
                    </a:lnTo>
                    <a:lnTo>
                      <a:pt x="2377" y="3108"/>
                    </a:lnTo>
                    <a:lnTo>
                      <a:pt x="2230" y="3464"/>
                    </a:lnTo>
                    <a:lnTo>
                      <a:pt x="2304" y="3582"/>
                    </a:lnTo>
                    <a:lnTo>
                      <a:pt x="2418" y="3582"/>
                    </a:lnTo>
                    <a:lnTo>
                      <a:pt x="2490" y="3626"/>
                    </a:lnTo>
                    <a:lnTo>
                      <a:pt x="2388" y="3716"/>
                    </a:lnTo>
                    <a:lnTo>
                      <a:pt x="2479" y="3746"/>
                    </a:lnTo>
                    <a:lnTo>
                      <a:pt x="2283" y="3960"/>
                    </a:lnTo>
                    <a:lnTo>
                      <a:pt x="2392" y="4140"/>
                    </a:lnTo>
                    <a:lnTo>
                      <a:pt x="2374" y="4271"/>
                    </a:lnTo>
                    <a:lnTo>
                      <a:pt x="2213" y="4274"/>
                    </a:lnTo>
                    <a:lnTo>
                      <a:pt x="2002" y="4410"/>
                    </a:lnTo>
                    <a:lnTo>
                      <a:pt x="1625" y="4515"/>
                    </a:lnTo>
                    <a:lnTo>
                      <a:pt x="1384" y="4515"/>
                    </a:lnTo>
                    <a:lnTo>
                      <a:pt x="1354" y="4390"/>
                    </a:lnTo>
                    <a:lnTo>
                      <a:pt x="1133" y="4390"/>
                    </a:lnTo>
                    <a:lnTo>
                      <a:pt x="1019" y="4480"/>
                    </a:lnTo>
                    <a:lnTo>
                      <a:pt x="969" y="4393"/>
                    </a:lnTo>
                    <a:lnTo>
                      <a:pt x="960" y="4211"/>
                    </a:lnTo>
                    <a:lnTo>
                      <a:pt x="897" y="4109"/>
                    </a:lnTo>
                    <a:lnTo>
                      <a:pt x="778" y="4261"/>
                    </a:lnTo>
                    <a:lnTo>
                      <a:pt x="763" y="4410"/>
                    </a:lnTo>
                    <a:lnTo>
                      <a:pt x="623" y="4462"/>
                    </a:lnTo>
                    <a:lnTo>
                      <a:pt x="540" y="4363"/>
                    </a:lnTo>
                    <a:lnTo>
                      <a:pt x="221" y="4285"/>
                    </a:lnTo>
                    <a:lnTo>
                      <a:pt x="202" y="4178"/>
                    </a:lnTo>
                    <a:lnTo>
                      <a:pt x="136" y="4126"/>
                    </a:lnTo>
                    <a:lnTo>
                      <a:pt x="118" y="4290"/>
                    </a:lnTo>
                    <a:lnTo>
                      <a:pt x="0" y="4182"/>
                    </a:lnTo>
                    <a:lnTo>
                      <a:pt x="54" y="4000"/>
                    </a:lnTo>
                    <a:lnTo>
                      <a:pt x="10" y="3467"/>
                    </a:lnTo>
                    <a:lnTo>
                      <a:pt x="188" y="2848"/>
                    </a:lnTo>
                    <a:lnTo>
                      <a:pt x="325" y="2599"/>
                    </a:lnTo>
                    <a:lnTo>
                      <a:pt x="409" y="2309"/>
                    </a:lnTo>
                    <a:lnTo>
                      <a:pt x="561" y="2116"/>
                    </a:lnTo>
                    <a:lnTo>
                      <a:pt x="704" y="2011"/>
                    </a:lnTo>
                    <a:lnTo>
                      <a:pt x="925" y="1562"/>
                    </a:lnTo>
                    <a:lnTo>
                      <a:pt x="813" y="1352"/>
                    </a:lnTo>
                    <a:lnTo>
                      <a:pt x="881" y="1148"/>
                    </a:lnTo>
                    <a:lnTo>
                      <a:pt x="886" y="968"/>
                    </a:lnTo>
                    <a:lnTo>
                      <a:pt x="1118" y="873"/>
                    </a:lnTo>
                    <a:lnTo>
                      <a:pt x="1428" y="474"/>
                    </a:lnTo>
                    <a:lnTo>
                      <a:pt x="1413" y="339"/>
                    </a:lnTo>
                    <a:lnTo>
                      <a:pt x="1487" y="259"/>
                    </a:lnTo>
                    <a:lnTo>
                      <a:pt x="1384" y="145"/>
                    </a:lnTo>
                    <a:lnTo>
                      <a:pt x="1166" y="110"/>
                    </a:lnTo>
                    <a:lnTo>
                      <a:pt x="1344"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9" name="Freeform 41">
                <a:extLst>
                  <a:ext uri="{FF2B5EF4-FFF2-40B4-BE49-F238E27FC236}">
                    <a16:creationId xmlns:a16="http://schemas.microsoft.com/office/drawing/2014/main" id="{C27C9A5A-29A5-4E93-9A46-41C9C8267B86}"/>
                  </a:ext>
                </a:extLst>
              </p:cNvPr>
              <p:cNvSpPr>
                <a:spLocks/>
              </p:cNvSpPr>
              <p:nvPr/>
            </p:nvSpPr>
            <p:spPr bwMode="auto">
              <a:xfrm>
                <a:off x="2355" y="1327"/>
                <a:ext cx="544" cy="756"/>
              </a:xfrm>
              <a:custGeom>
                <a:avLst/>
                <a:gdLst/>
                <a:ahLst/>
                <a:cxnLst>
                  <a:cxn ang="0">
                    <a:pos x="1491" y="74"/>
                  </a:cxn>
                  <a:cxn ang="0">
                    <a:pos x="1737" y="313"/>
                  </a:cxn>
                  <a:cxn ang="0">
                    <a:pos x="2062" y="328"/>
                  </a:cxn>
                  <a:cxn ang="0">
                    <a:pos x="2106" y="613"/>
                  </a:cxn>
                  <a:cxn ang="0">
                    <a:pos x="2314" y="713"/>
                  </a:cxn>
                  <a:cxn ang="0">
                    <a:pos x="2299" y="936"/>
                  </a:cxn>
                  <a:cxn ang="0">
                    <a:pos x="2525" y="836"/>
                  </a:cxn>
                  <a:cxn ang="0">
                    <a:pos x="2875" y="718"/>
                  </a:cxn>
                  <a:cxn ang="0">
                    <a:pos x="3480" y="926"/>
                  </a:cxn>
                  <a:cxn ang="0">
                    <a:pos x="3617" y="1075"/>
                  </a:cxn>
                  <a:cxn ang="0">
                    <a:pos x="3214" y="1315"/>
                  </a:cxn>
                  <a:cxn ang="0">
                    <a:pos x="2939" y="1792"/>
                  </a:cxn>
                  <a:cxn ang="0">
                    <a:pos x="2964" y="2109"/>
                  </a:cxn>
                  <a:cxn ang="0">
                    <a:pos x="2924" y="2470"/>
                  </a:cxn>
                  <a:cxn ang="0">
                    <a:pos x="2905" y="2806"/>
                  </a:cxn>
                  <a:cxn ang="0">
                    <a:pos x="2991" y="3092"/>
                  </a:cxn>
                  <a:cxn ang="0">
                    <a:pos x="2526" y="3109"/>
                  </a:cxn>
                  <a:cxn ang="0">
                    <a:pos x="2185" y="3333"/>
                  </a:cxn>
                  <a:cxn ang="0">
                    <a:pos x="1726" y="3553"/>
                  </a:cxn>
                  <a:cxn ang="0">
                    <a:pos x="1532" y="3739"/>
                  </a:cxn>
                  <a:cxn ang="0">
                    <a:pos x="1294" y="4271"/>
                  </a:cxn>
                  <a:cxn ang="0">
                    <a:pos x="1339" y="4883"/>
                  </a:cxn>
                  <a:cxn ang="0">
                    <a:pos x="1156" y="5069"/>
                  </a:cxn>
                  <a:cxn ang="0">
                    <a:pos x="969" y="4918"/>
                  </a:cxn>
                  <a:cxn ang="0">
                    <a:pos x="969" y="4707"/>
                  </a:cxn>
                  <a:cxn ang="0">
                    <a:pos x="793" y="4522"/>
                  </a:cxn>
                  <a:cxn ang="0">
                    <a:pos x="777" y="4317"/>
                  </a:cxn>
                  <a:cxn ang="0">
                    <a:pos x="857" y="4061"/>
                  </a:cxn>
                  <a:cxn ang="0">
                    <a:pos x="1033" y="3927"/>
                  </a:cxn>
                  <a:cxn ang="0">
                    <a:pos x="784" y="3836"/>
                  </a:cxn>
                  <a:cxn ang="0">
                    <a:pos x="503" y="3583"/>
                  </a:cxn>
                  <a:cxn ang="0">
                    <a:pos x="369" y="3407"/>
                  </a:cxn>
                  <a:cxn ang="0">
                    <a:pos x="501" y="3034"/>
                  </a:cxn>
                  <a:cxn ang="0">
                    <a:pos x="544" y="2792"/>
                  </a:cxn>
                  <a:cxn ang="0">
                    <a:pos x="525" y="2431"/>
                  </a:cxn>
                  <a:cxn ang="0">
                    <a:pos x="250" y="2283"/>
                  </a:cxn>
                  <a:cxn ang="0">
                    <a:pos x="0" y="2248"/>
                  </a:cxn>
                  <a:cxn ang="0">
                    <a:pos x="575" y="1759"/>
                  </a:cxn>
                  <a:cxn ang="0">
                    <a:pos x="955" y="1161"/>
                  </a:cxn>
                  <a:cxn ang="0">
                    <a:pos x="1295" y="0"/>
                  </a:cxn>
                </a:cxnLst>
                <a:rect l="0" t="0" r="r" b="b"/>
                <a:pathLst>
                  <a:path w="3633" h="5119">
                    <a:moveTo>
                      <a:pt x="1295" y="0"/>
                    </a:moveTo>
                    <a:lnTo>
                      <a:pt x="1491" y="74"/>
                    </a:lnTo>
                    <a:lnTo>
                      <a:pt x="1683" y="194"/>
                    </a:lnTo>
                    <a:lnTo>
                      <a:pt x="1737" y="313"/>
                    </a:lnTo>
                    <a:lnTo>
                      <a:pt x="1860" y="209"/>
                    </a:lnTo>
                    <a:lnTo>
                      <a:pt x="2062" y="328"/>
                    </a:lnTo>
                    <a:lnTo>
                      <a:pt x="2195" y="503"/>
                    </a:lnTo>
                    <a:lnTo>
                      <a:pt x="2106" y="613"/>
                    </a:lnTo>
                    <a:lnTo>
                      <a:pt x="2225" y="608"/>
                    </a:lnTo>
                    <a:lnTo>
                      <a:pt x="2314" y="713"/>
                    </a:lnTo>
                    <a:lnTo>
                      <a:pt x="2431" y="776"/>
                    </a:lnTo>
                    <a:lnTo>
                      <a:pt x="2299" y="936"/>
                    </a:lnTo>
                    <a:lnTo>
                      <a:pt x="2377" y="956"/>
                    </a:lnTo>
                    <a:lnTo>
                      <a:pt x="2525" y="836"/>
                    </a:lnTo>
                    <a:lnTo>
                      <a:pt x="2756" y="763"/>
                    </a:lnTo>
                    <a:lnTo>
                      <a:pt x="2875" y="718"/>
                    </a:lnTo>
                    <a:lnTo>
                      <a:pt x="3318" y="926"/>
                    </a:lnTo>
                    <a:lnTo>
                      <a:pt x="3480" y="926"/>
                    </a:lnTo>
                    <a:lnTo>
                      <a:pt x="3633" y="926"/>
                    </a:lnTo>
                    <a:lnTo>
                      <a:pt x="3617" y="1075"/>
                    </a:lnTo>
                    <a:lnTo>
                      <a:pt x="3382" y="1285"/>
                    </a:lnTo>
                    <a:lnTo>
                      <a:pt x="3214" y="1315"/>
                    </a:lnTo>
                    <a:lnTo>
                      <a:pt x="3129" y="1513"/>
                    </a:lnTo>
                    <a:lnTo>
                      <a:pt x="2939" y="1792"/>
                    </a:lnTo>
                    <a:lnTo>
                      <a:pt x="3013" y="1899"/>
                    </a:lnTo>
                    <a:lnTo>
                      <a:pt x="2964" y="2109"/>
                    </a:lnTo>
                    <a:lnTo>
                      <a:pt x="3051" y="2256"/>
                    </a:lnTo>
                    <a:lnTo>
                      <a:pt x="2924" y="2470"/>
                    </a:lnTo>
                    <a:lnTo>
                      <a:pt x="2878" y="2641"/>
                    </a:lnTo>
                    <a:lnTo>
                      <a:pt x="2905" y="2806"/>
                    </a:lnTo>
                    <a:lnTo>
                      <a:pt x="3009" y="2912"/>
                    </a:lnTo>
                    <a:lnTo>
                      <a:pt x="2991" y="3092"/>
                    </a:lnTo>
                    <a:lnTo>
                      <a:pt x="2658" y="3184"/>
                    </a:lnTo>
                    <a:lnTo>
                      <a:pt x="2526" y="3109"/>
                    </a:lnTo>
                    <a:lnTo>
                      <a:pt x="2352" y="3152"/>
                    </a:lnTo>
                    <a:lnTo>
                      <a:pt x="2185" y="3333"/>
                    </a:lnTo>
                    <a:lnTo>
                      <a:pt x="1877" y="3544"/>
                    </a:lnTo>
                    <a:lnTo>
                      <a:pt x="1726" y="3553"/>
                    </a:lnTo>
                    <a:lnTo>
                      <a:pt x="1592" y="3624"/>
                    </a:lnTo>
                    <a:lnTo>
                      <a:pt x="1532" y="3739"/>
                    </a:lnTo>
                    <a:lnTo>
                      <a:pt x="1464" y="3967"/>
                    </a:lnTo>
                    <a:lnTo>
                      <a:pt x="1294" y="4271"/>
                    </a:lnTo>
                    <a:lnTo>
                      <a:pt x="1328" y="4564"/>
                    </a:lnTo>
                    <a:lnTo>
                      <a:pt x="1339" y="4883"/>
                    </a:lnTo>
                    <a:lnTo>
                      <a:pt x="1208" y="5119"/>
                    </a:lnTo>
                    <a:lnTo>
                      <a:pt x="1156" y="5069"/>
                    </a:lnTo>
                    <a:lnTo>
                      <a:pt x="1028" y="5047"/>
                    </a:lnTo>
                    <a:lnTo>
                      <a:pt x="969" y="4918"/>
                    </a:lnTo>
                    <a:lnTo>
                      <a:pt x="900" y="4824"/>
                    </a:lnTo>
                    <a:lnTo>
                      <a:pt x="969" y="4707"/>
                    </a:lnTo>
                    <a:lnTo>
                      <a:pt x="825" y="4672"/>
                    </a:lnTo>
                    <a:lnTo>
                      <a:pt x="793" y="4522"/>
                    </a:lnTo>
                    <a:lnTo>
                      <a:pt x="665" y="4391"/>
                    </a:lnTo>
                    <a:lnTo>
                      <a:pt x="777" y="4317"/>
                    </a:lnTo>
                    <a:lnTo>
                      <a:pt x="792" y="4146"/>
                    </a:lnTo>
                    <a:lnTo>
                      <a:pt x="857" y="4061"/>
                    </a:lnTo>
                    <a:lnTo>
                      <a:pt x="1002" y="4050"/>
                    </a:lnTo>
                    <a:lnTo>
                      <a:pt x="1033" y="3927"/>
                    </a:lnTo>
                    <a:lnTo>
                      <a:pt x="1020" y="3811"/>
                    </a:lnTo>
                    <a:lnTo>
                      <a:pt x="784" y="3836"/>
                    </a:lnTo>
                    <a:lnTo>
                      <a:pt x="647" y="3731"/>
                    </a:lnTo>
                    <a:lnTo>
                      <a:pt x="503" y="3583"/>
                    </a:lnTo>
                    <a:lnTo>
                      <a:pt x="485" y="3454"/>
                    </a:lnTo>
                    <a:lnTo>
                      <a:pt x="369" y="3407"/>
                    </a:lnTo>
                    <a:lnTo>
                      <a:pt x="473" y="3268"/>
                    </a:lnTo>
                    <a:lnTo>
                      <a:pt x="501" y="3034"/>
                    </a:lnTo>
                    <a:lnTo>
                      <a:pt x="590" y="2911"/>
                    </a:lnTo>
                    <a:lnTo>
                      <a:pt x="544" y="2792"/>
                    </a:lnTo>
                    <a:lnTo>
                      <a:pt x="515" y="2611"/>
                    </a:lnTo>
                    <a:lnTo>
                      <a:pt x="525" y="2431"/>
                    </a:lnTo>
                    <a:lnTo>
                      <a:pt x="378" y="2356"/>
                    </a:lnTo>
                    <a:lnTo>
                      <a:pt x="250" y="2283"/>
                    </a:lnTo>
                    <a:lnTo>
                      <a:pt x="143" y="2310"/>
                    </a:lnTo>
                    <a:lnTo>
                      <a:pt x="0" y="2248"/>
                    </a:lnTo>
                    <a:lnTo>
                      <a:pt x="378" y="1913"/>
                    </a:lnTo>
                    <a:lnTo>
                      <a:pt x="575" y="1759"/>
                    </a:lnTo>
                    <a:lnTo>
                      <a:pt x="807" y="1325"/>
                    </a:lnTo>
                    <a:lnTo>
                      <a:pt x="955" y="1161"/>
                    </a:lnTo>
                    <a:lnTo>
                      <a:pt x="1195" y="517"/>
                    </a:lnTo>
                    <a:lnTo>
                      <a:pt x="1295"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0" name="Freeform 42">
                <a:extLst>
                  <a:ext uri="{FF2B5EF4-FFF2-40B4-BE49-F238E27FC236}">
                    <a16:creationId xmlns:a16="http://schemas.microsoft.com/office/drawing/2014/main" id="{AA46EB47-6BF2-47DA-8619-F70C48E2E9F8}"/>
                  </a:ext>
                </a:extLst>
              </p:cNvPr>
              <p:cNvSpPr>
                <a:spLocks/>
              </p:cNvSpPr>
              <p:nvPr/>
            </p:nvSpPr>
            <p:spPr bwMode="auto">
              <a:xfrm>
                <a:off x="2536" y="1463"/>
                <a:ext cx="464" cy="672"/>
              </a:xfrm>
              <a:custGeom>
                <a:avLst/>
                <a:gdLst/>
                <a:ahLst/>
                <a:cxnLst>
                  <a:cxn ang="0">
                    <a:pos x="2005" y="20"/>
                  </a:cxn>
                  <a:cxn ang="0">
                    <a:pos x="2163" y="95"/>
                  </a:cxn>
                  <a:cxn ang="0">
                    <a:pos x="2116" y="439"/>
                  </a:cxn>
                  <a:cxn ang="0">
                    <a:pos x="2246" y="694"/>
                  </a:cxn>
                  <a:cxn ang="0">
                    <a:pos x="2269" y="1289"/>
                  </a:cxn>
                  <a:cxn ang="0">
                    <a:pos x="2477" y="1839"/>
                  </a:cxn>
                  <a:cxn ang="0">
                    <a:pos x="2375" y="2090"/>
                  </a:cxn>
                  <a:cxn ang="0">
                    <a:pos x="2393" y="2402"/>
                  </a:cxn>
                  <a:cxn ang="0">
                    <a:pos x="2196" y="2537"/>
                  </a:cxn>
                  <a:cxn ang="0">
                    <a:pos x="1828" y="2921"/>
                  </a:cxn>
                  <a:cxn ang="0">
                    <a:pos x="1584" y="2945"/>
                  </a:cxn>
                  <a:cxn ang="0">
                    <a:pos x="1281" y="2970"/>
                  </a:cxn>
                  <a:cxn ang="0">
                    <a:pos x="1119" y="2953"/>
                  </a:cxn>
                  <a:cxn ang="0">
                    <a:pos x="939" y="3006"/>
                  </a:cxn>
                  <a:cxn ang="0">
                    <a:pos x="1001" y="3276"/>
                  </a:cxn>
                  <a:cxn ang="0">
                    <a:pos x="804" y="3539"/>
                  </a:cxn>
                  <a:cxn ang="0">
                    <a:pos x="576" y="3575"/>
                  </a:cxn>
                  <a:cxn ang="0">
                    <a:pos x="316" y="3599"/>
                  </a:cxn>
                  <a:cxn ang="0">
                    <a:pos x="197" y="3389"/>
                  </a:cxn>
                  <a:cxn ang="0">
                    <a:pos x="0" y="3356"/>
                  </a:cxn>
                  <a:cxn ang="0">
                    <a:pos x="96" y="2921"/>
                  </a:cxn>
                  <a:cxn ang="0">
                    <a:pos x="202" y="2438"/>
                  </a:cxn>
                  <a:cxn ang="0">
                    <a:pos x="304" y="2163"/>
                  </a:cxn>
                  <a:cxn ang="0">
                    <a:pos x="533" y="2095"/>
                  </a:cxn>
                  <a:cxn ang="0">
                    <a:pos x="911" y="1784"/>
                  </a:cxn>
                  <a:cxn ang="0">
                    <a:pos x="1159" y="1808"/>
                  </a:cxn>
                  <a:cxn ang="0">
                    <a:pos x="1438" y="1588"/>
                  </a:cxn>
                  <a:cxn ang="0">
                    <a:pos x="1336" y="1373"/>
                  </a:cxn>
                  <a:cxn ang="0">
                    <a:pos x="1474" y="1065"/>
                  </a:cxn>
                  <a:cxn ang="0">
                    <a:pos x="1442" y="778"/>
                  </a:cxn>
                  <a:cxn ang="0">
                    <a:pos x="1537" y="467"/>
                  </a:cxn>
                  <a:cxn ang="0">
                    <a:pos x="1738" y="287"/>
                  </a:cxn>
                  <a:cxn ang="0">
                    <a:pos x="1938" y="0"/>
                  </a:cxn>
                </a:cxnLst>
                <a:rect l="0" t="0" r="r" b="b"/>
                <a:pathLst>
                  <a:path w="2477" h="3635">
                    <a:moveTo>
                      <a:pt x="1938" y="0"/>
                    </a:moveTo>
                    <a:lnTo>
                      <a:pt x="2005" y="20"/>
                    </a:lnTo>
                    <a:lnTo>
                      <a:pt x="2076" y="84"/>
                    </a:lnTo>
                    <a:lnTo>
                      <a:pt x="2163" y="95"/>
                    </a:lnTo>
                    <a:lnTo>
                      <a:pt x="2087" y="287"/>
                    </a:lnTo>
                    <a:lnTo>
                      <a:pt x="2116" y="439"/>
                    </a:lnTo>
                    <a:lnTo>
                      <a:pt x="2174" y="588"/>
                    </a:lnTo>
                    <a:lnTo>
                      <a:pt x="2246" y="694"/>
                    </a:lnTo>
                    <a:lnTo>
                      <a:pt x="2171" y="810"/>
                    </a:lnTo>
                    <a:lnTo>
                      <a:pt x="2269" y="1289"/>
                    </a:lnTo>
                    <a:lnTo>
                      <a:pt x="2325" y="1653"/>
                    </a:lnTo>
                    <a:lnTo>
                      <a:pt x="2477" y="1839"/>
                    </a:lnTo>
                    <a:lnTo>
                      <a:pt x="2400" y="1950"/>
                    </a:lnTo>
                    <a:lnTo>
                      <a:pt x="2375" y="2090"/>
                    </a:lnTo>
                    <a:lnTo>
                      <a:pt x="2340" y="2234"/>
                    </a:lnTo>
                    <a:lnTo>
                      <a:pt x="2393" y="2402"/>
                    </a:lnTo>
                    <a:lnTo>
                      <a:pt x="2324" y="2478"/>
                    </a:lnTo>
                    <a:lnTo>
                      <a:pt x="2196" y="2537"/>
                    </a:lnTo>
                    <a:lnTo>
                      <a:pt x="2041" y="2681"/>
                    </a:lnTo>
                    <a:lnTo>
                      <a:pt x="1828" y="2921"/>
                    </a:lnTo>
                    <a:lnTo>
                      <a:pt x="1734" y="2909"/>
                    </a:lnTo>
                    <a:lnTo>
                      <a:pt x="1584" y="2945"/>
                    </a:lnTo>
                    <a:lnTo>
                      <a:pt x="1413" y="3048"/>
                    </a:lnTo>
                    <a:lnTo>
                      <a:pt x="1281" y="2970"/>
                    </a:lnTo>
                    <a:lnTo>
                      <a:pt x="1194" y="3003"/>
                    </a:lnTo>
                    <a:lnTo>
                      <a:pt x="1119" y="2953"/>
                    </a:lnTo>
                    <a:lnTo>
                      <a:pt x="1029" y="2952"/>
                    </a:lnTo>
                    <a:lnTo>
                      <a:pt x="939" y="3006"/>
                    </a:lnTo>
                    <a:lnTo>
                      <a:pt x="1002" y="3123"/>
                    </a:lnTo>
                    <a:lnTo>
                      <a:pt x="1001" y="3276"/>
                    </a:lnTo>
                    <a:lnTo>
                      <a:pt x="946" y="3376"/>
                    </a:lnTo>
                    <a:lnTo>
                      <a:pt x="804" y="3539"/>
                    </a:lnTo>
                    <a:lnTo>
                      <a:pt x="674" y="3495"/>
                    </a:lnTo>
                    <a:lnTo>
                      <a:pt x="576" y="3575"/>
                    </a:lnTo>
                    <a:lnTo>
                      <a:pt x="438" y="3635"/>
                    </a:lnTo>
                    <a:lnTo>
                      <a:pt x="316" y="3599"/>
                    </a:lnTo>
                    <a:lnTo>
                      <a:pt x="245" y="3519"/>
                    </a:lnTo>
                    <a:lnTo>
                      <a:pt x="197" y="3389"/>
                    </a:lnTo>
                    <a:lnTo>
                      <a:pt x="51" y="3401"/>
                    </a:lnTo>
                    <a:lnTo>
                      <a:pt x="0" y="3356"/>
                    </a:lnTo>
                    <a:lnTo>
                      <a:pt x="103" y="3168"/>
                    </a:lnTo>
                    <a:lnTo>
                      <a:pt x="96" y="2921"/>
                    </a:lnTo>
                    <a:lnTo>
                      <a:pt x="68" y="2681"/>
                    </a:lnTo>
                    <a:lnTo>
                      <a:pt x="202" y="2438"/>
                    </a:lnTo>
                    <a:lnTo>
                      <a:pt x="257" y="2250"/>
                    </a:lnTo>
                    <a:lnTo>
                      <a:pt x="304" y="2163"/>
                    </a:lnTo>
                    <a:lnTo>
                      <a:pt x="411" y="2103"/>
                    </a:lnTo>
                    <a:lnTo>
                      <a:pt x="533" y="2095"/>
                    </a:lnTo>
                    <a:lnTo>
                      <a:pt x="781" y="1927"/>
                    </a:lnTo>
                    <a:lnTo>
                      <a:pt x="911" y="1784"/>
                    </a:lnTo>
                    <a:lnTo>
                      <a:pt x="1052" y="1748"/>
                    </a:lnTo>
                    <a:lnTo>
                      <a:pt x="1159" y="1808"/>
                    </a:lnTo>
                    <a:lnTo>
                      <a:pt x="1427" y="1732"/>
                    </a:lnTo>
                    <a:lnTo>
                      <a:pt x="1438" y="1588"/>
                    </a:lnTo>
                    <a:lnTo>
                      <a:pt x="1356" y="1504"/>
                    </a:lnTo>
                    <a:lnTo>
                      <a:pt x="1336" y="1373"/>
                    </a:lnTo>
                    <a:lnTo>
                      <a:pt x="1371" y="1233"/>
                    </a:lnTo>
                    <a:lnTo>
                      <a:pt x="1474" y="1065"/>
                    </a:lnTo>
                    <a:lnTo>
                      <a:pt x="1403" y="946"/>
                    </a:lnTo>
                    <a:lnTo>
                      <a:pt x="1442" y="778"/>
                    </a:lnTo>
                    <a:lnTo>
                      <a:pt x="1383" y="694"/>
                    </a:lnTo>
                    <a:lnTo>
                      <a:pt x="1537" y="467"/>
                    </a:lnTo>
                    <a:lnTo>
                      <a:pt x="1604" y="311"/>
                    </a:lnTo>
                    <a:lnTo>
                      <a:pt x="1738" y="287"/>
                    </a:lnTo>
                    <a:lnTo>
                      <a:pt x="1923" y="120"/>
                    </a:lnTo>
                    <a:lnTo>
                      <a:pt x="1938"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1" name="Freeform 43">
                <a:extLst>
                  <a:ext uri="{FF2B5EF4-FFF2-40B4-BE49-F238E27FC236}">
                    <a16:creationId xmlns:a16="http://schemas.microsoft.com/office/drawing/2014/main" id="{EFC668B1-00F9-4E81-ABDD-5DBEF2691EE1}"/>
                  </a:ext>
                </a:extLst>
              </p:cNvPr>
              <p:cNvSpPr>
                <a:spLocks/>
              </p:cNvSpPr>
              <p:nvPr/>
            </p:nvSpPr>
            <p:spPr bwMode="auto">
              <a:xfrm>
                <a:off x="2927" y="1466"/>
                <a:ext cx="336" cy="428"/>
              </a:xfrm>
              <a:custGeom>
                <a:avLst/>
                <a:gdLst/>
                <a:ahLst/>
                <a:cxnLst>
                  <a:cxn ang="0">
                    <a:pos x="75" y="84"/>
                  </a:cxn>
                  <a:cxn ang="0">
                    <a:pos x="260" y="60"/>
                  </a:cxn>
                  <a:cxn ang="0">
                    <a:pos x="531" y="0"/>
                  </a:cxn>
                  <a:cxn ang="0">
                    <a:pos x="827" y="140"/>
                  </a:cxn>
                  <a:cxn ang="0">
                    <a:pos x="1268" y="439"/>
                  </a:cxn>
                  <a:cxn ang="0">
                    <a:pos x="1417" y="634"/>
                  </a:cxn>
                  <a:cxn ang="0">
                    <a:pos x="1575" y="810"/>
                  </a:cxn>
                  <a:cxn ang="0">
                    <a:pos x="1740" y="870"/>
                  </a:cxn>
                  <a:cxn ang="0">
                    <a:pos x="1795" y="958"/>
                  </a:cxn>
                  <a:cxn ang="0">
                    <a:pos x="1728" y="993"/>
                  </a:cxn>
                  <a:cxn ang="0">
                    <a:pos x="1618" y="981"/>
                  </a:cxn>
                  <a:cxn ang="0">
                    <a:pos x="1527" y="1113"/>
                  </a:cxn>
                  <a:cxn ang="0">
                    <a:pos x="1417" y="1293"/>
                  </a:cxn>
                  <a:cxn ang="0">
                    <a:pos x="1291" y="1492"/>
                  </a:cxn>
                  <a:cxn ang="0">
                    <a:pos x="1197" y="1508"/>
                  </a:cxn>
                  <a:cxn ang="0">
                    <a:pos x="1175" y="1638"/>
                  </a:cxn>
                  <a:cxn ang="0">
                    <a:pos x="1145" y="1803"/>
                  </a:cxn>
                  <a:cxn ang="0">
                    <a:pos x="1079" y="1867"/>
                  </a:cxn>
                  <a:cxn ang="0">
                    <a:pos x="1127" y="2046"/>
                  </a:cxn>
                  <a:cxn ang="0">
                    <a:pos x="1113" y="2210"/>
                  </a:cxn>
                  <a:cxn ang="0">
                    <a:pos x="1020" y="2234"/>
                  </a:cxn>
                  <a:cxn ang="0">
                    <a:pos x="968" y="2318"/>
                  </a:cxn>
                  <a:cxn ang="0">
                    <a:pos x="724" y="2091"/>
                  </a:cxn>
                  <a:cxn ang="0">
                    <a:pos x="606" y="2071"/>
                  </a:cxn>
                  <a:cxn ang="0">
                    <a:pos x="441" y="2115"/>
                  </a:cxn>
                  <a:cxn ang="0">
                    <a:pos x="287" y="2079"/>
                  </a:cxn>
                  <a:cxn ang="0">
                    <a:pos x="311" y="1939"/>
                  </a:cxn>
                  <a:cxn ang="0">
                    <a:pos x="390" y="1827"/>
                  </a:cxn>
                  <a:cxn ang="0">
                    <a:pos x="236" y="1640"/>
                  </a:cxn>
                  <a:cxn ang="0">
                    <a:pos x="181" y="1277"/>
                  </a:cxn>
                  <a:cxn ang="0">
                    <a:pos x="83" y="798"/>
                  </a:cxn>
                  <a:cxn ang="0">
                    <a:pos x="157" y="682"/>
                  </a:cxn>
                  <a:cxn ang="0">
                    <a:pos x="87" y="575"/>
                  </a:cxn>
                  <a:cxn ang="0">
                    <a:pos x="28" y="431"/>
                  </a:cxn>
                  <a:cxn ang="0">
                    <a:pos x="0" y="275"/>
                  </a:cxn>
                  <a:cxn ang="0">
                    <a:pos x="75" y="84"/>
                  </a:cxn>
                </a:cxnLst>
                <a:rect l="0" t="0" r="r" b="b"/>
                <a:pathLst>
                  <a:path w="1795" h="2318">
                    <a:moveTo>
                      <a:pt x="75" y="84"/>
                    </a:moveTo>
                    <a:lnTo>
                      <a:pt x="260" y="60"/>
                    </a:lnTo>
                    <a:lnTo>
                      <a:pt x="531" y="0"/>
                    </a:lnTo>
                    <a:lnTo>
                      <a:pt x="827" y="140"/>
                    </a:lnTo>
                    <a:lnTo>
                      <a:pt x="1268" y="439"/>
                    </a:lnTo>
                    <a:lnTo>
                      <a:pt x="1417" y="634"/>
                    </a:lnTo>
                    <a:lnTo>
                      <a:pt x="1575" y="810"/>
                    </a:lnTo>
                    <a:lnTo>
                      <a:pt x="1740" y="870"/>
                    </a:lnTo>
                    <a:lnTo>
                      <a:pt x="1795" y="958"/>
                    </a:lnTo>
                    <a:lnTo>
                      <a:pt x="1728" y="993"/>
                    </a:lnTo>
                    <a:lnTo>
                      <a:pt x="1618" y="981"/>
                    </a:lnTo>
                    <a:lnTo>
                      <a:pt x="1527" y="1113"/>
                    </a:lnTo>
                    <a:lnTo>
                      <a:pt x="1417" y="1293"/>
                    </a:lnTo>
                    <a:lnTo>
                      <a:pt x="1291" y="1492"/>
                    </a:lnTo>
                    <a:lnTo>
                      <a:pt x="1197" y="1508"/>
                    </a:lnTo>
                    <a:lnTo>
                      <a:pt x="1175" y="1638"/>
                    </a:lnTo>
                    <a:lnTo>
                      <a:pt x="1145" y="1803"/>
                    </a:lnTo>
                    <a:lnTo>
                      <a:pt x="1079" y="1867"/>
                    </a:lnTo>
                    <a:lnTo>
                      <a:pt x="1127" y="2046"/>
                    </a:lnTo>
                    <a:lnTo>
                      <a:pt x="1113" y="2210"/>
                    </a:lnTo>
                    <a:lnTo>
                      <a:pt x="1020" y="2234"/>
                    </a:lnTo>
                    <a:lnTo>
                      <a:pt x="968" y="2318"/>
                    </a:lnTo>
                    <a:lnTo>
                      <a:pt x="724" y="2091"/>
                    </a:lnTo>
                    <a:lnTo>
                      <a:pt x="606" y="2071"/>
                    </a:lnTo>
                    <a:lnTo>
                      <a:pt x="441" y="2115"/>
                    </a:lnTo>
                    <a:lnTo>
                      <a:pt x="287" y="2079"/>
                    </a:lnTo>
                    <a:lnTo>
                      <a:pt x="311" y="1939"/>
                    </a:lnTo>
                    <a:lnTo>
                      <a:pt x="390" y="1827"/>
                    </a:lnTo>
                    <a:lnTo>
                      <a:pt x="236" y="1640"/>
                    </a:lnTo>
                    <a:lnTo>
                      <a:pt x="181" y="1277"/>
                    </a:lnTo>
                    <a:lnTo>
                      <a:pt x="83" y="798"/>
                    </a:lnTo>
                    <a:lnTo>
                      <a:pt x="157" y="682"/>
                    </a:lnTo>
                    <a:lnTo>
                      <a:pt x="87" y="575"/>
                    </a:lnTo>
                    <a:lnTo>
                      <a:pt x="28" y="431"/>
                    </a:lnTo>
                    <a:lnTo>
                      <a:pt x="0" y="275"/>
                    </a:lnTo>
                    <a:lnTo>
                      <a:pt x="75" y="84"/>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2" name="Freeform 44">
                <a:extLst>
                  <a:ext uri="{FF2B5EF4-FFF2-40B4-BE49-F238E27FC236}">
                    <a16:creationId xmlns:a16="http://schemas.microsoft.com/office/drawing/2014/main" id="{CFA2E0AC-BD79-44CD-8388-12577BBE835E}"/>
                  </a:ext>
                </a:extLst>
              </p:cNvPr>
              <p:cNvSpPr>
                <a:spLocks/>
              </p:cNvSpPr>
              <p:nvPr/>
            </p:nvSpPr>
            <p:spPr bwMode="auto">
              <a:xfrm>
                <a:off x="3159" y="2042"/>
                <a:ext cx="142" cy="169"/>
              </a:xfrm>
              <a:custGeom>
                <a:avLst/>
                <a:gdLst/>
                <a:ahLst/>
                <a:cxnLst>
                  <a:cxn ang="0">
                    <a:pos x="108" y="0"/>
                  </a:cxn>
                  <a:cxn ang="0">
                    <a:pos x="220" y="5"/>
                  </a:cxn>
                  <a:cxn ang="0">
                    <a:pos x="546" y="135"/>
                  </a:cxn>
                  <a:cxn ang="0">
                    <a:pos x="723" y="289"/>
                  </a:cxn>
                  <a:cxn ang="0">
                    <a:pos x="950" y="513"/>
                  </a:cxn>
                  <a:cxn ang="0">
                    <a:pos x="678" y="673"/>
                  </a:cxn>
                  <a:cxn ang="0">
                    <a:pos x="521" y="881"/>
                  </a:cxn>
                  <a:cxn ang="0">
                    <a:pos x="413" y="1031"/>
                  </a:cxn>
                  <a:cxn ang="0">
                    <a:pos x="368" y="1148"/>
                  </a:cxn>
                  <a:cxn ang="0">
                    <a:pos x="237" y="1111"/>
                  </a:cxn>
                  <a:cxn ang="0">
                    <a:pos x="88" y="991"/>
                  </a:cxn>
                  <a:cxn ang="0">
                    <a:pos x="19" y="811"/>
                  </a:cxn>
                  <a:cxn ang="0">
                    <a:pos x="0" y="625"/>
                  </a:cxn>
                  <a:cxn ang="0">
                    <a:pos x="151" y="629"/>
                  </a:cxn>
                  <a:cxn ang="0">
                    <a:pos x="234" y="553"/>
                  </a:cxn>
                  <a:cxn ang="0">
                    <a:pos x="268" y="281"/>
                  </a:cxn>
                  <a:cxn ang="0">
                    <a:pos x="150" y="120"/>
                  </a:cxn>
                  <a:cxn ang="0">
                    <a:pos x="108" y="0"/>
                  </a:cxn>
                </a:cxnLst>
                <a:rect l="0" t="0" r="r" b="b"/>
                <a:pathLst>
                  <a:path w="950" h="1148">
                    <a:moveTo>
                      <a:pt x="108" y="0"/>
                    </a:moveTo>
                    <a:lnTo>
                      <a:pt x="220" y="5"/>
                    </a:lnTo>
                    <a:lnTo>
                      <a:pt x="546" y="135"/>
                    </a:lnTo>
                    <a:lnTo>
                      <a:pt x="723" y="289"/>
                    </a:lnTo>
                    <a:lnTo>
                      <a:pt x="950" y="513"/>
                    </a:lnTo>
                    <a:lnTo>
                      <a:pt x="678" y="673"/>
                    </a:lnTo>
                    <a:lnTo>
                      <a:pt x="521" y="881"/>
                    </a:lnTo>
                    <a:lnTo>
                      <a:pt x="413" y="1031"/>
                    </a:lnTo>
                    <a:lnTo>
                      <a:pt x="368" y="1148"/>
                    </a:lnTo>
                    <a:lnTo>
                      <a:pt x="237" y="1111"/>
                    </a:lnTo>
                    <a:lnTo>
                      <a:pt x="88" y="991"/>
                    </a:lnTo>
                    <a:lnTo>
                      <a:pt x="19" y="811"/>
                    </a:lnTo>
                    <a:lnTo>
                      <a:pt x="0" y="625"/>
                    </a:lnTo>
                    <a:lnTo>
                      <a:pt x="151" y="629"/>
                    </a:lnTo>
                    <a:lnTo>
                      <a:pt x="234" y="553"/>
                    </a:lnTo>
                    <a:lnTo>
                      <a:pt x="268" y="281"/>
                    </a:lnTo>
                    <a:lnTo>
                      <a:pt x="150" y="120"/>
                    </a:lnTo>
                    <a:lnTo>
                      <a:pt x="108"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3" name="Freeform 45">
                <a:extLst>
                  <a:ext uri="{FF2B5EF4-FFF2-40B4-BE49-F238E27FC236}">
                    <a16:creationId xmlns:a16="http://schemas.microsoft.com/office/drawing/2014/main" id="{480F13B8-8141-45E1-BDEF-233E09BF6AF7}"/>
                  </a:ext>
                </a:extLst>
              </p:cNvPr>
              <p:cNvSpPr>
                <a:spLocks/>
              </p:cNvSpPr>
              <p:nvPr/>
            </p:nvSpPr>
            <p:spPr bwMode="auto">
              <a:xfrm>
                <a:off x="3158" y="1976"/>
                <a:ext cx="254" cy="142"/>
              </a:xfrm>
              <a:custGeom>
                <a:avLst/>
                <a:gdLst/>
                <a:ahLst/>
                <a:cxnLst>
                  <a:cxn ang="0">
                    <a:pos x="1359" y="56"/>
                  </a:cxn>
                  <a:cxn ang="0">
                    <a:pos x="1225" y="24"/>
                  </a:cxn>
                  <a:cxn ang="0">
                    <a:pos x="1111" y="36"/>
                  </a:cxn>
                  <a:cxn ang="0">
                    <a:pos x="1004" y="0"/>
                  </a:cxn>
                  <a:cxn ang="0">
                    <a:pos x="882" y="128"/>
                  </a:cxn>
                  <a:cxn ang="0">
                    <a:pos x="744" y="203"/>
                  </a:cxn>
                  <a:cxn ang="0">
                    <a:pos x="516" y="188"/>
                  </a:cxn>
                  <a:cxn ang="0">
                    <a:pos x="355" y="60"/>
                  </a:cxn>
                  <a:cxn ang="0">
                    <a:pos x="236" y="0"/>
                  </a:cxn>
                  <a:cxn ang="0">
                    <a:pos x="0" y="88"/>
                  </a:cxn>
                  <a:cxn ang="0">
                    <a:pos x="95" y="355"/>
                  </a:cxn>
                  <a:cxn ang="0">
                    <a:pos x="186" y="360"/>
                  </a:cxn>
                  <a:cxn ang="0">
                    <a:pos x="444" y="463"/>
                  </a:cxn>
                  <a:cxn ang="0">
                    <a:pos x="599" y="598"/>
                  </a:cxn>
                  <a:cxn ang="0">
                    <a:pos x="768" y="766"/>
                  </a:cxn>
                  <a:cxn ang="0">
                    <a:pos x="1016" y="491"/>
                  </a:cxn>
                  <a:cxn ang="0">
                    <a:pos x="1225" y="287"/>
                  </a:cxn>
                  <a:cxn ang="0">
                    <a:pos x="1359" y="56"/>
                  </a:cxn>
                </a:cxnLst>
                <a:rect l="0" t="0" r="r" b="b"/>
                <a:pathLst>
                  <a:path w="1359" h="766">
                    <a:moveTo>
                      <a:pt x="1359" y="56"/>
                    </a:moveTo>
                    <a:lnTo>
                      <a:pt x="1225" y="24"/>
                    </a:lnTo>
                    <a:lnTo>
                      <a:pt x="1111" y="36"/>
                    </a:lnTo>
                    <a:lnTo>
                      <a:pt x="1004" y="0"/>
                    </a:lnTo>
                    <a:lnTo>
                      <a:pt x="882" y="128"/>
                    </a:lnTo>
                    <a:lnTo>
                      <a:pt x="744" y="203"/>
                    </a:lnTo>
                    <a:lnTo>
                      <a:pt x="516" y="188"/>
                    </a:lnTo>
                    <a:lnTo>
                      <a:pt x="355" y="60"/>
                    </a:lnTo>
                    <a:lnTo>
                      <a:pt x="236" y="0"/>
                    </a:lnTo>
                    <a:lnTo>
                      <a:pt x="0" y="88"/>
                    </a:lnTo>
                    <a:lnTo>
                      <a:pt x="95" y="355"/>
                    </a:lnTo>
                    <a:lnTo>
                      <a:pt x="186" y="360"/>
                    </a:lnTo>
                    <a:lnTo>
                      <a:pt x="444" y="463"/>
                    </a:lnTo>
                    <a:lnTo>
                      <a:pt x="599" y="598"/>
                    </a:lnTo>
                    <a:lnTo>
                      <a:pt x="768" y="766"/>
                    </a:lnTo>
                    <a:lnTo>
                      <a:pt x="1016" y="491"/>
                    </a:lnTo>
                    <a:lnTo>
                      <a:pt x="1225" y="287"/>
                    </a:lnTo>
                    <a:lnTo>
                      <a:pt x="1359" y="5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4" name="Freeform 46">
                <a:extLst>
                  <a:ext uri="{FF2B5EF4-FFF2-40B4-BE49-F238E27FC236}">
                    <a16:creationId xmlns:a16="http://schemas.microsoft.com/office/drawing/2014/main" id="{84792BA9-711F-4E25-AA6B-0E2F44760F3E}"/>
                  </a:ext>
                </a:extLst>
              </p:cNvPr>
              <p:cNvSpPr>
                <a:spLocks/>
              </p:cNvSpPr>
              <p:nvPr/>
            </p:nvSpPr>
            <p:spPr bwMode="auto">
              <a:xfrm>
                <a:off x="2919" y="1834"/>
                <a:ext cx="522" cy="186"/>
              </a:xfrm>
              <a:custGeom>
                <a:avLst/>
                <a:gdLst/>
                <a:ahLst/>
                <a:cxnLst>
                  <a:cxn ang="0">
                    <a:pos x="1155" y="216"/>
                  </a:cxn>
                  <a:cxn ang="0">
                    <a:pos x="1212" y="267"/>
                  </a:cxn>
                  <a:cxn ang="0">
                    <a:pos x="1296" y="242"/>
                  </a:cxn>
                  <a:cxn ang="0">
                    <a:pos x="1369" y="326"/>
                  </a:cxn>
                  <a:cxn ang="0">
                    <a:pos x="1495" y="255"/>
                  </a:cxn>
                  <a:cxn ang="0">
                    <a:pos x="1602" y="148"/>
                  </a:cxn>
                  <a:cxn ang="0">
                    <a:pos x="1736" y="52"/>
                  </a:cxn>
                  <a:cxn ang="0">
                    <a:pos x="1771" y="160"/>
                  </a:cxn>
                  <a:cxn ang="0">
                    <a:pos x="1783" y="347"/>
                  </a:cxn>
                  <a:cxn ang="0">
                    <a:pos x="1810" y="495"/>
                  </a:cxn>
                  <a:cxn ang="0">
                    <a:pos x="1944" y="479"/>
                  </a:cxn>
                  <a:cxn ang="0">
                    <a:pos x="2055" y="339"/>
                  </a:cxn>
                  <a:cxn ang="0">
                    <a:pos x="2267" y="323"/>
                  </a:cxn>
                  <a:cxn ang="0">
                    <a:pos x="2417" y="251"/>
                  </a:cxn>
                  <a:cxn ang="0">
                    <a:pos x="2523" y="136"/>
                  </a:cxn>
                  <a:cxn ang="0">
                    <a:pos x="2665" y="12"/>
                  </a:cxn>
                  <a:cxn ang="0">
                    <a:pos x="2783" y="0"/>
                  </a:cxn>
                  <a:cxn ang="0">
                    <a:pos x="2787" y="275"/>
                  </a:cxn>
                  <a:cxn ang="0">
                    <a:pos x="2775" y="483"/>
                  </a:cxn>
                  <a:cxn ang="0">
                    <a:pos x="2704" y="658"/>
                  </a:cxn>
                  <a:cxn ang="0">
                    <a:pos x="2634" y="827"/>
                  </a:cxn>
                  <a:cxn ang="0">
                    <a:pos x="2503" y="795"/>
                  </a:cxn>
                  <a:cxn ang="0">
                    <a:pos x="2385" y="806"/>
                  </a:cxn>
                  <a:cxn ang="0">
                    <a:pos x="2278" y="771"/>
                  </a:cxn>
                  <a:cxn ang="0">
                    <a:pos x="2160" y="897"/>
                  </a:cxn>
                  <a:cxn ang="0">
                    <a:pos x="2022" y="972"/>
                  </a:cxn>
                  <a:cxn ang="0">
                    <a:pos x="1791" y="959"/>
                  </a:cxn>
                  <a:cxn ang="0">
                    <a:pos x="1633" y="833"/>
                  </a:cxn>
                  <a:cxn ang="0">
                    <a:pos x="1513" y="771"/>
                  </a:cxn>
                  <a:cxn ang="0">
                    <a:pos x="1275" y="857"/>
                  </a:cxn>
                  <a:cxn ang="0">
                    <a:pos x="1168" y="863"/>
                  </a:cxn>
                  <a:cxn ang="0">
                    <a:pos x="1074" y="804"/>
                  </a:cxn>
                  <a:cxn ang="0">
                    <a:pos x="810" y="623"/>
                  </a:cxn>
                  <a:cxn ang="0">
                    <a:pos x="637" y="734"/>
                  </a:cxn>
                  <a:cxn ang="0">
                    <a:pos x="590" y="841"/>
                  </a:cxn>
                  <a:cxn ang="0">
                    <a:pos x="447" y="863"/>
                  </a:cxn>
                  <a:cxn ang="0">
                    <a:pos x="402" y="968"/>
                  </a:cxn>
                  <a:cxn ang="0">
                    <a:pos x="267" y="1009"/>
                  </a:cxn>
                  <a:cxn ang="0">
                    <a:pos x="258" y="927"/>
                  </a:cxn>
                  <a:cxn ang="0">
                    <a:pos x="184" y="849"/>
                  </a:cxn>
                  <a:cxn ang="0">
                    <a:pos x="184" y="744"/>
                  </a:cxn>
                  <a:cxn ang="0">
                    <a:pos x="0" y="671"/>
                  </a:cxn>
                  <a:cxn ang="0">
                    <a:pos x="153" y="530"/>
                  </a:cxn>
                  <a:cxn ang="0">
                    <a:pos x="279" y="471"/>
                  </a:cxn>
                  <a:cxn ang="0">
                    <a:pos x="350" y="395"/>
                  </a:cxn>
                  <a:cxn ang="0">
                    <a:pos x="294" y="231"/>
                  </a:cxn>
                  <a:cxn ang="0">
                    <a:pos x="330" y="84"/>
                  </a:cxn>
                  <a:cxn ang="0">
                    <a:pos x="483" y="120"/>
                  </a:cxn>
                  <a:cxn ang="0">
                    <a:pos x="651" y="75"/>
                  </a:cxn>
                  <a:cxn ang="0">
                    <a:pos x="769" y="95"/>
                  </a:cxn>
                  <a:cxn ang="0">
                    <a:pos x="1011" y="323"/>
                  </a:cxn>
                  <a:cxn ang="0">
                    <a:pos x="1060" y="240"/>
                  </a:cxn>
                  <a:cxn ang="0">
                    <a:pos x="1155" y="216"/>
                  </a:cxn>
                </a:cxnLst>
                <a:rect l="0" t="0" r="r" b="b"/>
                <a:pathLst>
                  <a:path w="2787" h="1009">
                    <a:moveTo>
                      <a:pt x="1155" y="216"/>
                    </a:moveTo>
                    <a:lnTo>
                      <a:pt x="1212" y="267"/>
                    </a:lnTo>
                    <a:lnTo>
                      <a:pt x="1296" y="242"/>
                    </a:lnTo>
                    <a:lnTo>
                      <a:pt x="1369" y="326"/>
                    </a:lnTo>
                    <a:lnTo>
                      <a:pt x="1495" y="255"/>
                    </a:lnTo>
                    <a:lnTo>
                      <a:pt x="1602" y="148"/>
                    </a:lnTo>
                    <a:lnTo>
                      <a:pt x="1736" y="52"/>
                    </a:lnTo>
                    <a:lnTo>
                      <a:pt x="1771" y="160"/>
                    </a:lnTo>
                    <a:lnTo>
                      <a:pt x="1783" y="347"/>
                    </a:lnTo>
                    <a:lnTo>
                      <a:pt x="1810" y="495"/>
                    </a:lnTo>
                    <a:lnTo>
                      <a:pt x="1944" y="479"/>
                    </a:lnTo>
                    <a:lnTo>
                      <a:pt x="2055" y="339"/>
                    </a:lnTo>
                    <a:lnTo>
                      <a:pt x="2267" y="323"/>
                    </a:lnTo>
                    <a:lnTo>
                      <a:pt x="2417" y="251"/>
                    </a:lnTo>
                    <a:lnTo>
                      <a:pt x="2523" y="136"/>
                    </a:lnTo>
                    <a:lnTo>
                      <a:pt x="2665" y="12"/>
                    </a:lnTo>
                    <a:lnTo>
                      <a:pt x="2783" y="0"/>
                    </a:lnTo>
                    <a:lnTo>
                      <a:pt x="2787" y="275"/>
                    </a:lnTo>
                    <a:lnTo>
                      <a:pt x="2775" y="483"/>
                    </a:lnTo>
                    <a:lnTo>
                      <a:pt x="2704" y="658"/>
                    </a:lnTo>
                    <a:lnTo>
                      <a:pt x="2634" y="827"/>
                    </a:lnTo>
                    <a:lnTo>
                      <a:pt x="2503" y="795"/>
                    </a:lnTo>
                    <a:lnTo>
                      <a:pt x="2385" y="806"/>
                    </a:lnTo>
                    <a:lnTo>
                      <a:pt x="2278" y="771"/>
                    </a:lnTo>
                    <a:lnTo>
                      <a:pt x="2160" y="897"/>
                    </a:lnTo>
                    <a:lnTo>
                      <a:pt x="2022" y="972"/>
                    </a:lnTo>
                    <a:lnTo>
                      <a:pt x="1791" y="959"/>
                    </a:lnTo>
                    <a:lnTo>
                      <a:pt x="1633" y="833"/>
                    </a:lnTo>
                    <a:lnTo>
                      <a:pt x="1513" y="771"/>
                    </a:lnTo>
                    <a:lnTo>
                      <a:pt x="1275" y="857"/>
                    </a:lnTo>
                    <a:lnTo>
                      <a:pt x="1168" y="863"/>
                    </a:lnTo>
                    <a:lnTo>
                      <a:pt x="1074" y="804"/>
                    </a:lnTo>
                    <a:lnTo>
                      <a:pt x="810" y="623"/>
                    </a:lnTo>
                    <a:lnTo>
                      <a:pt x="637" y="734"/>
                    </a:lnTo>
                    <a:lnTo>
                      <a:pt x="590" y="841"/>
                    </a:lnTo>
                    <a:lnTo>
                      <a:pt x="447" y="863"/>
                    </a:lnTo>
                    <a:lnTo>
                      <a:pt x="402" y="968"/>
                    </a:lnTo>
                    <a:lnTo>
                      <a:pt x="267" y="1009"/>
                    </a:lnTo>
                    <a:lnTo>
                      <a:pt x="258" y="927"/>
                    </a:lnTo>
                    <a:lnTo>
                      <a:pt x="184" y="849"/>
                    </a:lnTo>
                    <a:lnTo>
                      <a:pt x="184" y="744"/>
                    </a:lnTo>
                    <a:lnTo>
                      <a:pt x="0" y="671"/>
                    </a:lnTo>
                    <a:lnTo>
                      <a:pt x="153" y="530"/>
                    </a:lnTo>
                    <a:lnTo>
                      <a:pt x="279" y="471"/>
                    </a:lnTo>
                    <a:lnTo>
                      <a:pt x="350" y="395"/>
                    </a:lnTo>
                    <a:lnTo>
                      <a:pt x="294" y="231"/>
                    </a:lnTo>
                    <a:lnTo>
                      <a:pt x="330" y="84"/>
                    </a:lnTo>
                    <a:lnTo>
                      <a:pt x="483" y="120"/>
                    </a:lnTo>
                    <a:lnTo>
                      <a:pt x="651" y="75"/>
                    </a:lnTo>
                    <a:lnTo>
                      <a:pt x="769" y="95"/>
                    </a:lnTo>
                    <a:lnTo>
                      <a:pt x="1011" y="323"/>
                    </a:lnTo>
                    <a:lnTo>
                      <a:pt x="1060" y="240"/>
                    </a:lnTo>
                    <a:lnTo>
                      <a:pt x="1155" y="21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5" name="Freeform 47">
                <a:extLst>
                  <a:ext uri="{FF2B5EF4-FFF2-40B4-BE49-F238E27FC236}">
                    <a16:creationId xmlns:a16="http://schemas.microsoft.com/office/drawing/2014/main" id="{D2FA1A02-C5A1-4B93-9FAC-D5C5BC0B54BB}"/>
                  </a:ext>
                </a:extLst>
              </p:cNvPr>
              <p:cNvSpPr>
                <a:spLocks/>
              </p:cNvSpPr>
              <p:nvPr/>
            </p:nvSpPr>
            <p:spPr bwMode="auto">
              <a:xfrm>
                <a:off x="3129" y="1741"/>
                <a:ext cx="311" cy="184"/>
              </a:xfrm>
              <a:custGeom>
                <a:avLst/>
                <a:gdLst/>
                <a:ahLst/>
                <a:cxnLst>
                  <a:cxn ang="0">
                    <a:pos x="116" y="184"/>
                  </a:cxn>
                  <a:cxn ang="0">
                    <a:pos x="319" y="229"/>
                  </a:cxn>
                  <a:cxn ang="0">
                    <a:pos x="599" y="64"/>
                  </a:cxn>
                  <a:cxn ang="0">
                    <a:pos x="753" y="1"/>
                  </a:cxn>
                  <a:cxn ang="0">
                    <a:pos x="824" y="0"/>
                  </a:cxn>
                  <a:cxn ang="0">
                    <a:pos x="858" y="124"/>
                  </a:cxn>
                  <a:cxn ang="0">
                    <a:pos x="645" y="332"/>
                  </a:cxn>
                  <a:cxn ang="0">
                    <a:pos x="850" y="392"/>
                  </a:cxn>
                  <a:cxn ang="0">
                    <a:pos x="998" y="388"/>
                  </a:cxn>
                  <a:cxn ang="0">
                    <a:pos x="1177" y="512"/>
                  </a:cxn>
                  <a:cxn ang="0">
                    <a:pos x="1239" y="388"/>
                  </a:cxn>
                  <a:cxn ang="0">
                    <a:pos x="1181" y="184"/>
                  </a:cxn>
                  <a:cxn ang="0">
                    <a:pos x="1271" y="120"/>
                  </a:cxn>
                  <a:cxn ang="0">
                    <a:pos x="1477" y="229"/>
                  </a:cxn>
                  <a:cxn ang="0">
                    <a:pos x="1717" y="237"/>
                  </a:cxn>
                  <a:cxn ang="0">
                    <a:pos x="2052" y="282"/>
                  </a:cxn>
                  <a:cxn ang="0">
                    <a:pos x="2046" y="468"/>
                  </a:cxn>
                  <a:cxn ang="0">
                    <a:pos x="2076" y="629"/>
                  </a:cxn>
                  <a:cxn ang="0">
                    <a:pos x="1927" y="644"/>
                  </a:cxn>
                  <a:cxn ang="0">
                    <a:pos x="1751" y="799"/>
                  </a:cxn>
                  <a:cxn ang="0">
                    <a:pos x="1624" y="937"/>
                  </a:cxn>
                  <a:cxn ang="0">
                    <a:pos x="1436" y="1030"/>
                  </a:cxn>
                  <a:cxn ang="0">
                    <a:pos x="1166" y="1053"/>
                  </a:cxn>
                  <a:cxn ang="0">
                    <a:pos x="1028" y="1229"/>
                  </a:cxn>
                  <a:cxn ang="0">
                    <a:pos x="858" y="1247"/>
                  </a:cxn>
                  <a:cxn ang="0">
                    <a:pos x="825" y="1064"/>
                  </a:cxn>
                  <a:cxn ang="0">
                    <a:pos x="810" y="829"/>
                  </a:cxn>
                  <a:cxn ang="0">
                    <a:pos x="767" y="694"/>
                  </a:cxn>
                  <a:cxn ang="0">
                    <a:pos x="588" y="824"/>
                  </a:cxn>
                  <a:cxn ang="0">
                    <a:pos x="465" y="950"/>
                  </a:cxn>
                  <a:cxn ang="0">
                    <a:pos x="306" y="1038"/>
                  </a:cxn>
                  <a:cxn ang="0">
                    <a:pos x="215" y="934"/>
                  </a:cxn>
                  <a:cxn ang="0">
                    <a:pos x="111" y="962"/>
                  </a:cxn>
                  <a:cxn ang="0">
                    <a:pos x="43" y="899"/>
                  </a:cxn>
                  <a:cxn ang="0">
                    <a:pos x="58" y="689"/>
                  </a:cxn>
                  <a:cxn ang="0">
                    <a:pos x="0" y="470"/>
                  </a:cxn>
                  <a:cxn ang="0">
                    <a:pos x="83" y="388"/>
                  </a:cxn>
                  <a:cxn ang="0">
                    <a:pos x="116" y="184"/>
                  </a:cxn>
                </a:cxnLst>
                <a:rect l="0" t="0" r="r" b="b"/>
                <a:pathLst>
                  <a:path w="2076" h="1247">
                    <a:moveTo>
                      <a:pt x="116" y="184"/>
                    </a:moveTo>
                    <a:lnTo>
                      <a:pt x="319" y="229"/>
                    </a:lnTo>
                    <a:lnTo>
                      <a:pt x="599" y="64"/>
                    </a:lnTo>
                    <a:lnTo>
                      <a:pt x="753" y="1"/>
                    </a:lnTo>
                    <a:lnTo>
                      <a:pt x="824" y="0"/>
                    </a:lnTo>
                    <a:lnTo>
                      <a:pt x="858" y="124"/>
                    </a:lnTo>
                    <a:lnTo>
                      <a:pt x="645" y="332"/>
                    </a:lnTo>
                    <a:lnTo>
                      <a:pt x="850" y="392"/>
                    </a:lnTo>
                    <a:lnTo>
                      <a:pt x="998" y="388"/>
                    </a:lnTo>
                    <a:lnTo>
                      <a:pt x="1177" y="512"/>
                    </a:lnTo>
                    <a:lnTo>
                      <a:pt x="1239" y="388"/>
                    </a:lnTo>
                    <a:lnTo>
                      <a:pt x="1181" y="184"/>
                    </a:lnTo>
                    <a:lnTo>
                      <a:pt x="1271" y="120"/>
                    </a:lnTo>
                    <a:lnTo>
                      <a:pt x="1477" y="229"/>
                    </a:lnTo>
                    <a:lnTo>
                      <a:pt x="1717" y="237"/>
                    </a:lnTo>
                    <a:lnTo>
                      <a:pt x="2052" y="282"/>
                    </a:lnTo>
                    <a:lnTo>
                      <a:pt x="2046" y="468"/>
                    </a:lnTo>
                    <a:lnTo>
                      <a:pt x="2076" y="629"/>
                    </a:lnTo>
                    <a:lnTo>
                      <a:pt x="1927" y="644"/>
                    </a:lnTo>
                    <a:lnTo>
                      <a:pt x="1751" y="799"/>
                    </a:lnTo>
                    <a:lnTo>
                      <a:pt x="1624" y="937"/>
                    </a:lnTo>
                    <a:lnTo>
                      <a:pt x="1436" y="1030"/>
                    </a:lnTo>
                    <a:lnTo>
                      <a:pt x="1166" y="1053"/>
                    </a:lnTo>
                    <a:lnTo>
                      <a:pt x="1028" y="1229"/>
                    </a:lnTo>
                    <a:lnTo>
                      <a:pt x="858" y="1247"/>
                    </a:lnTo>
                    <a:lnTo>
                      <a:pt x="825" y="1064"/>
                    </a:lnTo>
                    <a:lnTo>
                      <a:pt x="810" y="829"/>
                    </a:lnTo>
                    <a:lnTo>
                      <a:pt x="767" y="694"/>
                    </a:lnTo>
                    <a:lnTo>
                      <a:pt x="588" y="824"/>
                    </a:lnTo>
                    <a:lnTo>
                      <a:pt x="465" y="950"/>
                    </a:lnTo>
                    <a:lnTo>
                      <a:pt x="306" y="1038"/>
                    </a:lnTo>
                    <a:lnTo>
                      <a:pt x="215" y="934"/>
                    </a:lnTo>
                    <a:lnTo>
                      <a:pt x="111" y="962"/>
                    </a:lnTo>
                    <a:lnTo>
                      <a:pt x="43" y="899"/>
                    </a:lnTo>
                    <a:lnTo>
                      <a:pt x="58" y="689"/>
                    </a:lnTo>
                    <a:lnTo>
                      <a:pt x="0" y="470"/>
                    </a:lnTo>
                    <a:lnTo>
                      <a:pt x="83" y="388"/>
                    </a:lnTo>
                    <a:lnTo>
                      <a:pt x="116" y="184"/>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6" name="Freeform 48">
                <a:extLst>
                  <a:ext uri="{FF2B5EF4-FFF2-40B4-BE49-F238E27FC236}">
                    <a16:creationId xmlns:a16="http://schemas.microsoft.com/office/drawing/2014/main" id="{9C5034DC-69DC-45B2-8400-30E5E96432E3}"/>
                  </a:ext>
                </a:extLst>
              </p:cNvPr>
              <p:cNvSpPr>
                <a:spLocks/>
              </p:cNvSpPr>
              <p:nvPr/>
            </p:nvSpPr>
            <p:spPr bwMode="auto">
              <a:xfrm>
                <a:off x="3147" y="1642"/>
                <a:ext cx="289" cy="175"/>
              </a:xfrm>
              <a:custGeom>
                <a:avLst/>
                <a:gdLst/>
                <a:ahLst/>
                <a:cxnLst>
                  <a:cxn ang="0">
                    <a:pos x="1742" y="233"/>
                  </a:cxn>
                  <a:cxn ang="0">
                    <a:pos x="1579" y="143"/>
                  </a:cxn>
                  <a:cxn ang="0">
                    <a:pos x="1329" y="173"/>
                  </a:cxn>
                  <a:cxn ang="0">
                    <a:pos x="1092" y="143"/>
                  </a:cxn>
                  <a:cxn ang="0">
                    <a:pos x="940" y="53"/>
                  </a:cxn>
                  <a:cxn ang="0">
                    <a:pos x="778" y="0"/>
                  </a:cxn>
                  <a:cxn ang="0">
                    <a:pos x="697" y="43"/>
                  </a:cxn>
                  <a:cxn ang="0">
                    <a:pos x="555" y="29"/>
                  </a:cxn>
                  <a:cxn ang="0">
                    <a:pos x="439" y="203"/>
                  </a:cxn>
                  <a:cxn ang="0">
                    <a:pos x="306" y="414"/>
                  </a:cxn>
                  <a:cxn ang="0">
                    <a:pos x="150" y="666"/>
                  </a:cxn>
                  <a:cxn ang="0">
                    <a:pos x="30" y="687"/>
                  </a:cxn>
                  <a:cxn ang="0">
                    <a:pos x="0" y="853"/>
                  </a:cxn>
                  <a:cxn ang="0">
                    <a:pos x="201" y="897"/>
                  </a:cxn>
                  <a:cxn ang="0">
                    <a:pos x="487" y="732"/>
                  </a:cxn>
                  <a:cxn ang="0">
                    <a:pos x="630" y="672"/>
                  </a:cxn>
                  <a:cxn ang="0">
                    <a:pos x="708" y="667"/>
                  </a:cxn>
                  <a:cxn ang="0">
                    <a:pos x="738" y="793"/>
                  </a:cxn>
                  <a:cxn ang="0">
                    <a:pos x="526" y="1002"/>
                  </a:cxn>
                  <a:cxn ang="0">
                    <a:pos x="738" y="1062"/>
                  </a:cxn>
                  <a:cxn ang="0">
                    <a:pos x="881" y="1057"/>
                  </a:cxn>
                  <a:cxn ang="0">
                    <a:pos x="1058" y="1182"/>
                  </a:cxn>
                  <a:cxn ang="0">
                    <a:pos x="1122" y="1057"/>
                  </a:cxn>
                  <a:cxn ang="0">
                    <a:pos x="1063" y="853"/>
                  </a:cxn>
                  <a:cxn ang="0">
                    <a:pos x="1152" y="788"/>
                  </a:cxn>
                  <a:cxn ang="0">
                    <a:pos x="1358" y="897"/>
                  </a:cxn>
                  <a:cxn ang="0">
                    <a:pos x="1609" y="907"/>
                  </a:cxn>
                  <a:cxn ang="0">
                    <a:pos x="1934" y="952"/>
                  </a:cxn>
                  <a:cxn ang="0">
                    <a:pos x="1919" y="823"/>
                  </a:cxn>
                  <a:cxn ang="0">
                    <a:pos x="1870" y="682"/>
                  </a:cxn>
                  <a:cxn ang="0">
                    <a:pos x="1815" y="442"/>
                  </a:cxn>
                  <a:cxn ang="0">
                    <a:pos x="1742" y="233"/>
                  </a:cxn>
                </a:cxnLst>
                <a:rect l="0" t="0" r="r" b="b"/>
                <a:pathLst>
                  <a:path w="1934" h="1182">
                    <a:moveTo>
                      <a:pt x="1742" y="233"/>
                    </a:moveTo>
                    <a:lnTo>
                      <a:pt x="1579" y="143"/>
                    </a:lnTo>
                    <a:lnTo>
                      <a:pt x="1329" y="173"/>
                    </a:lnTo>
                    <a:lnTo>
                      <a:pt x="1092" y="143"/>
                    </a:lnTo>
                    <a:lnTo>
                      <a:pt x="940" y="53"/>
                    </a:lnTo>
                    <a:lnTo>
                      <a:pt x="778" y="0"/>
                    </a:lnTo>
                    <a:lnTo>
                      <a:pt x="697" y="43"/>
                    </a:lnTo>
                    <a:lnTo>
                      <a:pt x="555" y="29"/>
                    </a:lnTo>
                    <a:lnTo>
                      <a:pt x="439" y="203"/>
                    </a:lnTo>
                    <a:lnTo>
                      <a:pt x="306" y="414"/>
                    </a:lnTo>
                    <a:lnTo>
                      <a:pt x="150" y="666"/>
                    </a:lnTo>
                    <a:lnTo>
                      <a:pt x="30" y="687"/>
                    </a:lnTo>
                    <a:lnTo>
                      <a:pt x="0" y="853"/>
                    </a:lnTo>
                    <a:lnTo>
                      <a:pt x="201" y="897"/>
                    </a:lnTo>
                    <a:lnTo>
                      <a:pt x="487" y="732"/>
                    </a:lnTo>
                    <a:lnTo>
                      <a:pt x="630" y="672"/>
                    </a:lnTo>
                    <a:lnTo>
                      <a:pt x="708" y="667"/>
                    </a:lnTo>
                    <a:lnTo>
                      <a:pt x="738" y="793"/>
                    </a:lnTo>
                    <a:lnTo>
                      <a:pt x="526" y="1002"/>
                    </a:lnTo>
                    <a:lnTo>
                      <a:pt x="738" y="1062"/>
                    </a:lnTo>
                    <a:lnTo>
                      <a:pt x="881" y="1057"/>
                    </a:lnTo>
                    <a:lnTo>
                      <a:pt x="1058" y="1182"/>
                    </a:lnTo>
                    <a:lnTo>
                      <a:pt x="1122" y="1057"/>
                    </a:lnTo>
                    <a:lnTo>
                      <a:pt x="1063" y="853"/>
                    </a:lnTo>
                    <a:lnTo>
                      <a:pt x="1152" y="788"/>
                    </a:lnTo>
                    <a:lnTo>
                      <a:pt x="1358" y="897"/>
                    </a:lnTo>
                    <a:lnTo>
                      <a:pt x="1609" y="907"/>
                    </a:lnTo>
                    <a:lnTo>
                      <a:pt x="1934" y="952"/>
                    </a:lnTo>
                    <a:lnTo>
                      <a:pt x="1919" y="823"/>
                    </a:lnTo>
                    <a:lnTo>
                      <a:pt x="1870" y="682"/>
                    </a:lnTo>
                    <a:lnTo>
                      <a:pt x="1815" y="442"/>
                    </a:lnTo>
                    <a:lnTo>
                      <a:pt x="1742" y="233"/>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7" name="Freeform 49">
                <a:extLst>
                  <a:ext uri="{FF2B5EF4-FFF2-40B4-BE49-F238E27FC236}">
                    <a16:creationId xmlns:a16="http://schemas.microsoft.com/office/drawing/2014/main" id="{E6FB2DA9-5765-445A-8603-9FDE228CA707}"/>
                  </a:ext>
                </a:extLst>
              </p:cNvPr>
              <p:cNvSpPr>
                <a:spLocks/>
              </p:cNvSpPr>
              <p:nvPr/>
            </p:nvSpPr>
            <p:spPr bwMode="auto">
              <a:xfrm>
                <a:off x="1017" y="802"/>
                <a:ext cx="486" cy="543"/>
              </a:xfrm>
              <a:custGeom>
                <a:avLst/>
                <a:gdLst/>
                <a:ahLst/>
                <a:cxnLst>
                  <a:cxn ang="0">
                    <a:pos x="2316" y="170"/>
                  </a:cxn>
                  <a:cxn ang="0">
                    <a:pos x="2108" y="409"/>
                  </a:cxn>
                  <a:cxn ang="0">
                    <a:pos x="1784" y="524"/>
                  </a:cxn>
                  <a:cxn ang="0">
                    <a:pos x="1286" y="644"/>
                  </a:cxn>
                  <a:cxn ang="0">
                    <a:pos x="1123" y="853"/>
                  </a:cxn>
                  <a:cxn ang="0">
                    <a:pos x="739" y="679"/>
                  </a:cxn>
                  <a:cxn ang="0">
                    <a:pos x="369" y="584"/>
                  </a:cxn>
                  <a:cxn ang="0">
                    <a:pos x="5" y="499"/>
                  </a:cxn>
                  <a:cxn ang="0">
                    <a:pos x="104" y="763"/>
                  </a:cxn>
                  <a:cxn ang="0">
                    <a:pos x="325" y="978"/>
                  </a:cxn>
                  <a:cxn ang="0">
                    <a:pos x="409" y="1332"/>
                  </a:cxn>
                  <a:cxn ang="0">
                    <a:pos x="542" y="1592"/>
                  </a:cxn>
                  <a:cxn ang="0">
                    <a:pos x="779" y="1700"/>
                  </a:cxn>
                  <a:cxn ang="0">
                    <a:pos x="1123" y="1861"/>
                  </a:cxn>
                  <a:cxn ang="0">
                    <a:pos x="1222" y="2219"/>
                  </a:cxn>
                  <a:cxn ang="0">
                    <a:pos x="1227" y="2948"/>
                  </a:cxn>
                  <a:cxn ang="0">
                    <a:pos x="1360" y="3247"/>
                  </a:cxn>
                  <a:cxn ang="0">
                    <a:pos x="1493" y="3506"/>
                  </a:cxn>
                  <a:cxn ang="0">
                    <a:pos x="1739" y="3681"/>
                  </a:cxn>
                  <a:cxn ang="0">
                    <a:pos x="1922" y="3187"/>
                  </a:cxn>
                  <a:cxn ang="0">
                    <a:pos x="2261" y="3357"/>
                  </a:cxn>
                  <a:cxn ang="0">
                    <a:pos x="2448" y="3247"/>
                  </a:cxn>
                  <a:cxn ang="0">
                    <a:pos x="2542" y="2893"/>
                  </a:cxn>
                  <a:cxn ang="0">
                    <a:pos x="2956" y="2788"/>
                  </a:cxn>
                  <a:cxn ang="0">
                    <a:pos x="3176" y="2333"/>
                  </a:cxn>
                  <a:cxn ang="0">
                    <a:pos x="3069" y="2139"/>
                  </a:cxn>
                  <a:cxn ang="0">
                    <a:pos x="2779" y="1665"/>
                  </a:cxn>
                  <a:cxn ang="0">
                    <a:pos x="2631" y="1382"/>
                  </a:cxn>
                  <a:cxn ang="0">
                    <a:pos x="2892" y="748"/>
                  </a:cxn>
                  <a:cxn ang="0">
                    <a:pos x="2809" y="494"/>
                  </a:cxn>
                  <a:cxn ang="0">
                    <a:pos x="2641" y="155"/>
                  </a:cxn>
                  <a:cxn ang="0">
                    <a:pos x="2405" y="35"/>
                  </a:cxn>
                </a:cxnLst>
                <a:rect l="0" t="0" r="r" b="b"/>
                <a:pathLst>
                  <a:path w="3244" h="3681">
                    <a:moveTo>
                      <a:pt x="2227" y="35"/>
                    </a:moveTo>
                    <a:lnTo>
                      <a:pt x="2316" y="170"/>
                    </a:lnTo>
                    <a:lnTo>
                      <a:pt x="2168" y="284"/>
                    </a:lnTo>
                    <a:lnTo>
                      <a:pt x="2108" y="409"/>
                    </a:lnTo>
                    <a:lnTo>
                      <a:pt x="1902" y="404"/>
                    </a:lnTo>
                    <a:lnTo>
                      <a:pt x="1784" y="524"/>
                    </a:lnTo>
                    <a:lnTo>
                      <a:pt x="1546" y="614"/>
                    </a:lnTo>
                    <a:lnTo>
                      <a:pt x="1286" y="644"/>
                    </a:lnTo>
                    <a:lnTo>
                      <a:pt x="1093" y="703"/>
                    </a:lnTo>
                    <a:lnTo>
                      <a:pt x="1123" y="853"/>
                    </a:lnTo>
                    <a:lnTo>
                      <a:pt x="1020" y="918"/>
                    </a:lnTo>
                    <a:lnTo>
                      <a:pt x="739" y="679"/>
                    </a:lnTo>
                    <a:lnTo>
                      <a:pt x="473" y="733"/>
                    </a:lnTo>
                    <a:lnTo>
                      <a:pt x="369" y="584"/>
                    </a:lnTo>
                    <a:lnTo>
                      <a:pt x="143" y="614"/>
                    </a:lnTo>
                    <a:lnTo>
                      <a:pt x="5" y="499"/>
                    </a:lnTo>
                    <a:lnTo>
                      <a:pt x="0" y="614"/>
                    </a:lnTo>
                    <a:lnTo>
                      <a:pt x="104" y="763"/>
                    </a:lnTo>
                    <a:lnTo>
                      <a:pt x="266" y="808"/>
                    </a:lnTo>
                    <a:lnTo>
                      <a:pt x="325" y="978"/>
                    </a:lnTo>
                    <a:lnTo>
                      <a:pt x="290" y="1157"/>
                    </a:lnTo>
                    <a:lnTo>
                      <a:pt x="409" y="1332"/>
                    </a:lnTo>
                    <a:lnTo>
                      <a:pt x="424" y="1517"/>
                    </a:lnTo>
                    <a:lnTo>
                      <a:pt x="542" y="1592"/>
                    </a:lnTo>
                    <a:lnTo>
                      <a:pt x="768" y="1562"/>
                    </a:lnTo>
                    <a:lnTo>
                      <a:pt x="779" y="1700"/>
                    </a:lnTo>
                    <a:lnTo>
                      <a:pt x="916" y="1780"/>
                    </a:lnTo>
                    <a:lnTo>
                      <a:pt x="1123" y="1861"/>
                    </a:lnTo>
                    <a:lnTo>
                      <a:pt x="1103" y="2021"/>
                    </a:lnTo>
                    <a:lnTo>
                      <a:pt x="1222" y="2219"/>
                    </a:lnTo>
                    <a:lnTo>
                      <a:pt x="1271" y="2424"/>
                    </a:lnTo>
                    <a:lnTo>
                      <a:pt x="1227" y="2948"/>
                    </a:lnTo>
                    <a:lnTo>
                      <a:pt x="1345" y="3117"/>
                    </a:lnTo>
                    <a:lnTo>
                      <a:pt x="1360" y="3247"/>
                    </a:lnTo>
                    <a:lnTo>
                      <a:pt x="1271" y="3372"/>
                    </a:lnTo>
                    <a:lnTo>
                      <a:pt x="1493" y="3506"/>
                    </a:lnTo>
                    <a:lnTo>
                      <a:pt x="1591" y="3671"/>
                    </a:lnTo>
                    <a:lnTo>
                      <a:pt x="1739" y="3681"/>
                    </a:lnTo>
                    <a:lnTo>
                      <a:pt x="1769" y="3367"/>
                    </a:lnTo>
                    <a:lnTo>
                      <a:pt x="1922" y="3187"/>
                    </a:lnTo>
                    <a:lnTo>
                      <a:pt x="2079" y="3192"/>
                    </a:lnTo>
                    <a:lnTo>
                      <a:pt x="2261" y="3357"/>
                    </a:lnTo>
                    <a:lnTo>
                      <a:pt x="2380" y="3367"/>
                    </a:lnTo>
                    <a:lnTo>
                      <a:pt x="2448" y="3247"/>
                    </a:lnTo>
                    <a:lnTo>
                      <a:pt x="2463" y="3072"/>
                    </a:lnTo>
                    <a:lnTo>
                      <a:pt x="2542" y="2893"/>
                    </a:lnTo>
                    <a:lnTo>
                      <a:pt x="2685" y="2773"/>
                    </a:lnTo>
                    <a:lnTo>
                      <a:pt x="2956" y="2788"/>
                    </a:lnTo>
                    <a:lnTo>
                      <a:pt x="3244" y="2766"/>
                    </a:lnTo>
                    <a:lnTo>
                      <a:pt x="3176" y="2333"/>
                    </a:lnTo>
                    <a:lnTo>
                      <a:pt x="3216" y="2217"/>
                    </a:lnTo>
                    <a:lnTo>
                      <a:pt x="3069" y="2139"/>
                    </a:lnTo>
                    <a:lnTo>
                      <a:pt x="2809" y="1906"/>
                    </a:lnTo>
                    <a:lnTo>
                      <a:pt x="2779" y="1665"/>
                    </a:lnTo>
                    <a:lnTo>
                      <a:pt x="2685" y="1557"/>
                    </a:lnTo>
                    <a:lnTo>
                      <a:pt x="2631" y="1382"/>
                    </a:lnTo>
                    <a:lnTo>
                      <a:pt x="2700" y="1003"/>
                    </a:lnTo>
                    <a:lnTo>
                      <a:pt x="2892" y="748"/>
                    </a:lnTo>
                    <a:lnTo>
                      <a:pt x="2804" y="614"/>
                    </a:lnTo>
                    <a:lnTo>
                      <a:pt x="2809" y="494"/>
                    </a:lnTo>
                    <a:lnTo>
                      <a:pt x="2567" y="409"/>
                    </a:lnTo>
                    <a:lnTo>
                      <a:pt x="2641" y="155"/>
                    </a:lnTo>
                    <a:lnTo>
                      <a:pt x="2552" y="0"/>
                    </a:lnTo>
                    <a:lnTo>
                      <a:pt x="2405" y="35"/>
                    </a:lnTo>
                    <a:lnTo>
                      <a:pt x="2227" y="35"/>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grpSp>
        <p:grpSp>
          <p:nvGrpSpPr>
            <p:cNvPr id="9" name="组合 52">
              <a:extLst>
                <a:ext uri="{FF2B5EF4-FFF2-40B4-BE49-F238E27FC236}">
                  <a16:creationId xmlns:a16="http://schemas.microsoft.com/office/drawing/2014/main" id="{3003AECB-1130-4BEA-AD86-D9D9608D8957}"/>
                </a:ext>
              </a:extLst>
            </p:cNvPr>
            <p:cNvGrpSpPr/>
            <p:nvPr/>
          </p:nvGrpSpPr>
          <p:grpSpPr>
            <a:xfrm>
              <a:off x="6286511" y="4929198"/>
              <a:ext cx="2565797" cy="1765406"/>
              <a:chOff x="416519" y="4774171"/>
              <a:chExt cx="2565797" cy="1765406"/>
            </a:xfrm>
          </p:grpSpPr>
          <p:sp>
            <p:nvSpPr>
              <p:cNvPr id="38" name="圆角矩形 103">
                <a:extLst>
                  <a:ext uri="{FF2B5EF4-FFF2-40B4-BE49-F238E27FC236}">
                    <a16:creationId xmlns:a16="http://schemas.microsoft.com/office/drawing/2014/main" id="{8D124C4F-19C0-449E-8910-C7F329E53D90}"/>
                  </a:ext>
                </a:extLst>
              </p:cNvPr>
              <p:cNvSpPr/>
              <p:nvPr/>
            </p:nvSpPr>
            <p:spPr>
              <a:xfrm>
                <a:off x="416519" y="4964087"/>
                <a:ext cx="2501037" cy="157549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39" name="圆角矩形 45">
                <a:extLst>
                  <a:ext uri="{FF2B5EF4-FFF2-40B4-BE49-F238E27FC236}">
                    <a16:creationId xmlns:a16="http://schemas.microsoft.com/office/drawing/2014/main" id="{B6E1B856-034D-4A2C-B6DF-E93FBA8C4BB3}"/>
                  </a:ext>
                </a:extLst>
              </p:cNvPr>
              <p:cNvSpPr/>
              <p:nvPr/>
            </p:nvSpPr>
            <p:spPr>
              <a:xfrm>
                <a:off x="680339" y="4774171"/>
                <a:ext cx="1582020" cy="422783"/>
              </a:xfrm>
              <a:prstGeom prst="roundRect">
                <a:avLst>
                  <a:gd name="adj" fmla="val 50000"/>
                </a:avLst>
              </a:prstGeom>
              <a:solidFill>
                <a:schemeClr val="bg1">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45703" rIns="0" bIns="45703" anchor="ctr" anchorCtr="1"/>
              <a:lstStyle/>
              <a:p>
                <a:pPr algn="r" fontAlgn="base">
                  <a:spcBef>
                    <a:spcPct val="0"/>
                  </a:spcBef>
                  <a:spcAft>
                    <a:spcPct val="0"/>
                  </a:spcAft>
                </a:pPr>
                <a:r>
                  <a:rPr lang="en-US" altLang="zh-CN" sz="1200" b="1" kern="0" dirty="0"/>
                  <a:t>VIRA</a:t>
                </a:r>
              </a:p>
            </p:txBody>
          </p:sp>
          <p:sp>
            <p:nvSpPr>
              <p:cNvPr id="40" name="Text Box 16">
                <a:extLst>
                  <a:ext uri="{FF2B5EF4-FFF2-40B4-BE49-F238E27FC236}">
                    <a16:creationId xmlns:a16="http://schemas.microsoft.com/office/drawing/2014/main" id="{070BC2CB-C672-4EE6-878C-9F6403FEFAFF}"/>
                  </a:ext>
                </a:extLst>
              </p:cNvPr>
              <p:cNvSpPr txBox="1">
                <a:spLocks noChangeArrowheads="1"/>
              </p:cNvSpPr>
              <p:nvPr/>
            </p:nvSpPr>
            <p:spPr bwMode="auto">
              <a:xfrm>
                <a:off x="481278" y="5228283"/>
                <a:ext cx="2501038" cy="1278866"/>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err="1">
                    <a:latin typeface="Calibri" pitchFamily="34" charset="0"/>
                    <a:cs typeface="Calibri" pitchFamily="34" charset="0"/>
                  </a:rPr>
                  <a:t>Transferir</a:t>
                </a:r>
                <a:r>
                  <a:rPr lang="en-US" altLang="zh-CN" sz="1200" dirty="0">
                    <a:latin typeface="Calibri" pitchFamily="34" charset="0"/>
                    <a:cs typeface="Calibri" pitchFamily="34" charset="0"/>
                  </a:rPr>
                  <a:t> </a:t>
                </a:r>
                <a:r>
                  <a:rPr lang="en-US" altLang="zh-CN" sz="1200" dirty="0" err="1">
                    <a:latin typeface="Calibri" pitchFamily="34" charset="0"/>
                    <a:cs typeface="Calibri" pitchFamily="34" charset="0"/>
                  </a:rPr>
                  <a:t>estoque</a:t>
                </a:r>
                <a:r>
                  <a:rPr lang="en-US" altLang="zh-CN" sz="1200" dirty="0">
                    <a:latin typeface="Calibri" pitchFamily="34" charset="0"/>
                    <a:cs typeface="Calibri" pitchFamily="34" charset="0"/>
                  </a:rPr>
                  <a:t> da Planta de São José dos Campos para CD de </a:t>
                </a:r>
                <a:r>
                  <a:rPr lang="en-US" altLang="zh-CN" sz="1200" dirty="0" err="1">
                    <a:latin typeface="Calibri" pitchFamily="34" charset="0"/>
                    <a:cs typeface="Calibri" pitchFamily="34" charset="0"/>
                  </a:rPr>
                  <a:t>Guararema</a:t>
                </a:r>
                <a:endParaRPr lang="en-US" altLang="zh-CN" sz="1200" dirty="0">
                  <a:latin typeface="Calibri" pitchFamily="34" charset="0"/>
                  <a:cs typeface="Calibri" pitchFamily="34" charset="0"/>
                </a:endParaRPr>
              </a:p>
            </p:txBody>
          </p:sp>
        </p:grpSp>
        <p:grpSp>
          <p:nvGrpSpPr>
            <p:cNvPr id="10" name="组合 53">
              <a:extLst>
                <a:ext uri="{FF2B5EF4-FFF2-40B4-BE49-F238E27FC236}">
                  <a16:creationId xmlns:a16="http://schemas.microsoft.com/office/drawing/2014/main" id="{B3B4B951-CF32-45EC-B7C4-F04E0C5EFC51}"/>
                </a:ext>
              </a:extLst>
            </p:cNvPr>
            <p:cNvGrpSpPr/>
            <p:nvPr/>
          </p:nvGrpSpPr>
          <p:grpSpPr>
            <a:xfrm>
              <a:off x="503937" y="3571876"/>
              <a:ext cx="2462945" cy="1479927"/>
              <a:chOff x="63233" y="4774171"/>
              <a:chExt cx="2462945" cy="1479927"/>
            </a:xfrm>
          </p:grpSpPr>
          <p:sp>
            <p:nvSpPr>
              <p:cNvPr id="35" name="圆角矩形 97">
                <a:extLst>
                  <a:ext uri="{FF2B5EF4-FFF2-40B4-BE49-F238E27FC236}">
                    <a16:creationId xmlns:a16="http://schemas.microsoft.com/office/drawing/2014/main" id="{49EF1932-E833-46A6-B04A-9B14268A8182}"/>
                  </a:ext>
                </a:extLst>
              </p:cNvPr>
              <p:cNvSpPr/>
              <p:nvPr/>
            </p:nvSpPr>
            <p:spPr>
              <a:xfrm>
                <a:off x="63233" y="4964087"/>
                <a:ext cx="2462945" cy="129001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36" name="圆角矩形 45">
                <a:extLst>
                  <a:ext uri="{FF2B5EF4-FFF2-40B4-BE49-F238E27FC236}">
                    <a16:creationId xmlns:a16="http://schemas.microsoft.com/office/drawing/2014/main" id="{94A304B8-0F50-41DA-8A0B-62332F47D0E0}"/>
                  </a:ext>
                </a:extLst>
              </p:cNvPr>
              <p:cNvSpPr/>
              <p:nvPr/>
            </p:nvSpPr>
            <p:spPr>
              <a:xfrm>
                <a:off x="680339" y="4774171"/>
                <a:ext cx="1582020" cy="422783"/>
              </a:xfrm>
              <a:prstGeom prst="roundRect">
                <a:avLst>
                  <a:gd name="adj" fmla="val 50000"/>
                </a:avLst>
              </a:prstGeom>
              <a:solidFill>
                <a:schemeClr val="bg1">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45703" rIns="0" bIns="45703" anchor="ctr" anchorCtr="1"/>
              <a:lstStyle/>
              <a:p>
                <a:pPr algn="r" fontAlgn="base">
                  <a:spcBef>
                    <a:spcPct val="0"/>
                  </a:spcBef>
                  <a:spcAft>
                    <a:spcPct val="0"/>
                  </a:spcAft>
                </a:pPr>
                <a:r>
                  <a:rPr lang="en-US" altLang="zh-CN" sz="1200" b="1" kern="0" dirty="0"/>
                  <a:t>Londrina</a:t>
                </a:r>
              </a:p>
            </p:txBody>
          </p:sp>
        </p:grpSp>
        <p:grpSp>
          <p:nvGrpSpPr>
            <p:cNvPr id="15" name="组合 56">
              <a:extLst>
                <a:ext uri="{FF2B5EF4-FFF2-40B4-BE49-F238E27FC236}">
                  <a16:creationId xmlns:a16="http://schemas.microsoft.com/office/drawing/2014/main" id="{ACC726F9-74E6-4727-AF6E-0A67514F58C4}"/>
                </a:ext>
              </a:extLst>
            </p:cNvPr>
            <p:cNvGrpSpPr/>
            <p:nvPr/>
          </p:nvGrpSpPr>
          <p:grpSpPr>
            <a:xfrm>
              <a:off x="1218634" y="5143512"/>
              <a:ext cx="2248314" cy="1479927"/>
              <a:chOff x="277864" y="4774171"/>
              <a:chExt cx="2248314" cy="1479927"/>
            </a:xfrm>
          </p:grpSpPr>
          <p:sp>
            <p:nvSpPr>
              <p:cNvPr id="26" name="圆角矩形 67">
                <a:extLst>
                  <a:ext uri="{FF2B5EF4-FFF2-40B4-BE49-F238E27FC236}">
                    <a16:creationId xmlns:a16="http://schemas.microsoft.com/office/drawing/2014/main" id="{0867EBA0-4C0D-4C3D-BC8E-BA0119171CD5}"/>
                  </a:ext>
                </a:extLst>
              </p:cNvPr>
              <p:cNvSpPr/>
              <p:nvPr/>
            </p:nvSpPr>
            <p:spPr>
              <a:xfrm>
                <a:off x="277864" y="4964087"/>
                <a:ext cx="2248314" cy="129001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27" name="圆角矩形 45">
                <a:extLst>
                  <a:ext uri="{FF2B5EF4-FFF2-40B4-BE49-F238E27FC236}">
                    <a16:creationId xmlns:a16="http://schemas.microsoft.com/office/drawing/2014/main" id="{37DAE50C-677B-4671-8CC6-9F95A54A5B1A}"/>
                  </a:ext>
                </a:extLst>
              </p:cNvPr>
              <p:cNvSpPr/>
              <p:nvPr/>
            </p:nvSpPr>
            <p:spPr>
              <a:xfrm>
                <a:off x="581684" y="4774171"/>
                <a:ext cx="1779332" cy="422783"/>
              </a:xfrm>
              <a:prstGeom prst="roundRect">
                <a:avLst>
                  <a:gd name="adj" fmla="val 50000"/>
                </a:avLst>
              </a:prstGeom>
              <a:solidFill>
                <a:schemeClr val="bg1">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45703" rIns="0" bIns="45703" anchor="ctr" anchorCtr="1"/>
              <a:lstStyle/>
              <a:p>
                <a:pPr algn="r" fontAlgn="base">
                  <a:spcBef>
                    <a:spcPct val="0"/>
                  </a:spcBef>
                  <a:spcAft>
                    <a:spcPct val="0"/>
                  </a:spcAft>
                </a:pPr>
                <a:r>
                  <a:rPr lang="en-US" altLang="zh-CN" sz="1200" b="1" kern="0" dirty="0" err="1"/>
                  <a:t>Cachoeirinha</a:t>
                </a:r>
                <a:endParaRPr lang="en-US" altLang="zh-CN" sz="1200" b="1" kern="0" dirty="0"/>
              </a:p>
            </p:txBody>
          </p:sp>
        </p:grpSp>
        <p:sp>
          <p:nvSpPr>
            <p:cNvPr id="16" name="Oval 25">
              <a:extLst>
                <a:ext uri="{FF2B5EF4-FFF2-40B4-BE49-F238E27FC236}">
                  <a16:creationId xmlns:a16="http://schemas.microsoft.com/office/drawing/2014/main" id="{E3FF5327-AAC3-4421-A9A8-576F922EB1B8}"/>
                </a:ext>
              </a:extLst>
            </p:cNvPr>
            <p:cNvSpPr>
              <a:spLocks noChangeArrowheads="1"/>
            </p:cNvSpPr>
            <p:nvPr/>
          </p:nvSpPr>
          <p:spPr bwMode="gray">
            <a:xfrm>
              <a:off x="4786314" y="4929198"/>
              <a:ext cx="108821" cy="10882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17" name="肘形连接符 139">
              <a:extLst>
                <a:ext uri="{FF2B5EF4-FFF2-40B4-BE49-F238E27FC236}">
                  <a16:creationId xmlns:a16="http://schemas.microsoft.com/office/drawing/2014/main" id="{AA947F96-D60E-42D3-BF88-ED9FE5BA7B35}"/>
                </a:ext>
              </a:extLst>
            </p:cNvPr>
            <p:cNvCxnSpPr>
              <a:cxnSpLocks/>
              <a:stCxn id="16" idx="4"/>
              <a:endCxn id="38" idx="1"/>
            </p:cNvCxnSpPr>
            <p:nvPr/>
          </p:nvCxnSpPr>
          <p:spPr>
            <a:xfrm rot="16200000" flipH="1">
              <a:off x="5129199" y="4749545"/>
              <a:ext cx="868840" cy="1445786"/>
            </a:xfrm>
            <a:prstGeom prst="bentConnector2">
              <a:avLst/>
            </a:prstGeom>
            <a:noFill/>
            <a:ln w="9525">
              <a:solidFill>
                <a:srgbClr val="C00000"/>
              </a:solidFill>
              <a:prstDash val="sysDash"/>
              <a:miter lim="800000"/>
              <a:headEnd/>
              <a:tailEnd/>
            </a:ln>
          </p:spPr>
        </p:cxnSp>
        <p:sp>
          <p:nvSpPr>
            <p:cNvPr id="18" name="Oval 25">
              <a:extLst>
                <a:ext uri="{FF2B5EF4-FFF2-40B4-BE49-F238E27FC236}">
                  <a16:creationId xmlns:a16="http://schemas.microsoft.com/office/drawing/2014/main" id="{36790634-7F19-4D5A-94DC-1B0CA864B99A}"/>
                </a:ext>
              </a:extLst>
            </p:cNvPr>
            <p:cNvSpPr>
              <a:spLocks noChangeArrowheads="1"/>
            </p:cNvSpPr>
            <p:nvPr/>
          </p:nvSpPr>
          <p:spPr bwMode="gray">
            <a:xfrm>
              <a:off x="4387906" y="5166937"/>
              <a:ext cx="108820" cy="108820"/>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sp>
          <p:nvSpPr>
            <p:cNvPr id="22" name="Oval 25">
              <a:extLst>
                <a:ext uri="{FF2B5EF4-FFF2-40B4-BE49-F238E27FC236}">
                  <a16:creationId xmlns:a16="http://schemas.microsoft.com/office/drawing/2014/main" id="{F7484D4C-BE28-4837-AC1C-20CC46D8C72F}"/>
                </a:ext>
              </a:extLst>
            </p:cNvPr>
            <p:cNvSpPr>
              <a:spLocks noChangeArrowheads="1"/>
            </p:cNvSpPr>
            <p:nvPr/>
          </p:nvSpPr>
          <p:spPr bwMode="gray">
            <a:xfrm>
              <a:off x="4107002" y="5724518"/>
              <a:ext cx="108821" cy="10882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23" name="肘形连接符 139">
              <a:extLst>
                <a:ext uri="{FF2B5EF4-FFF2-40B4-BE49-F238E27FC236}">
                  <a16:creationId xmlns:a16="http://schemas.microsoft.com/office/drawing/2014/main" id="{55A320D9-A20C-438B-A100-E8CDF5489B35}"/>
                </a:ext>
              </a:extLst>
            </p:cNvPr>
            <p:cNvCxnSpPr>
              <a:cxnSpLocks/>
              <a:stCxn id="26" idx="3"/>
              <a:endCxn id="22" idx="4"/>
            </p:cNvCxnSpPr>
            <p:nvPr/>
          </p:nvCxnSpPr>
          <p:spPr>
            <a:xfrm flipV="1">
              <a:off x="3466948" y="5833338"/>
              <a:ext cx="694465" cy="145096"/>
            </a:xfrm>
            <a:prstGeom prst="bentConnector2">
              <a:avLst/>
            </a:prstGeom>
            <a:noFill/>
            <a:ln w="9525">
              <a:solidFill>
                <a:srgbClr val="C00000"/>
              </a:solidFill>
              <a:prstDash val="sysDash"/>
              <a:miter lim="800000"/>
              <a:headEnd/>
              <a:tailEnd/>
            </a:ln>
          </p:spPr>
        </p:cxnSp>
      </p:grpSp>
      <p:cxnSp>
        <p:nvCxnSpPr>
          <p:cNvPr id="68" name="肘形连接符 139">
            <a:extLst>
              <a:ext uri="{FF2B5EF4-FFF2-40B4-BE49-F238E27FC236}">
                <a16:creationId xmlns:a16="http://schemas.microsoft.com/office/drawing/2014/main" id="{897DF502-2E18-44FC-AE0E-8F0314F796D3}"/>
              </a:ext>
            </a:extLst>
          </p:cNvPr>
          <p:cNvCxnSpPr>
            <a:cxnSpLocks/>
            <a:stCxn id="18" idx="2"/>
          </p:cNvCxnSpPr>
          <p:nvPr/>
        </p:nvCxnSpPr>
        <p:spPr>
          <a:xfrm rot="10800000">
            <a:off x="7676957" y="4569084"/>
            <a:ext cx="1036197" cy="760864"/>
          </a:xfrm>
          <a:prstGeom prst="bentConnector3">
            <a:avLst>
              <a:gd name="adj1" fmla="val 50000"/>
            </a:avLst>
          </a:prstGeom>
          <a:noFill/>
          <a:ln w="9525">
            <a:solidFill>
              <a:srgbClr val="C00000"/>
            </a:solidFill>
            <a:prstDash val="sysDash"/>
            <a:miter lim="800000"/>
            <a:headEnd/>
            <a:tailEnd/>
          </a:ln>
        </p:spPr>
      </p:cxnSp>
      <p:sp>
        <p:nvSpPr>
          <p:cNvPr id="72" name="Text Box 16">
            <a:extLst>
              <a:ext uri="{FF2B5EF4-FFF2-40B4-BE49-F238E27FC236}">
                <a16:creationId xmlns:a16="http://schemas.microsoft.com/office/drawing/2014/main" id="{1EB27187-13E2-4281-8A84-A28876AD4E8E}"/>
              </a:ext>
            </a:extLst>
          </p:cNvPr>
          <p:cNvSpPr txBox="1">
            <a:spLocks noChangeArrowheads="1"/>
          </p:cNvSpPr>
          <p:nvPr/>
        </p:nvSpPr>
        <p:spPr bwMode="auto">
          <a:xfrm>
            <a:off x="5871443" y="4470581"/>
            <a:ext cx="1798644" cy="501419"/>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err="1">
                <a:latin typeface="Calibri" pitchFamily="34" charset="0"/>
                <a:cs typeface="Calibri" pitchFamily="34" charset="0"/>
              </a:rPr>
              <a:t>Distribuição</a:t>
            </a:r>
            <a:r>
              <a:rPr lang="en-US" altLang="zh-CN" sz="1200" dirty="0">
                <a:latin typeface="Calibri" pitchFamily="34" charset="0"/>
                <a:cs typeface="Calibri" pitchFamily="34" charset="0"/>
              </a:rPr>
              <a:t> no </a:t>
            </a:r>
            <a:r>
              <a:rPr lang="en-US" altLang="zh-CN" sz="1200" dirty="0" err="1">
                <a:latin typeface="Calibri" pitchFamily="34" charset="0"/>
                <a:cs typeface="Calibri" pitchFamily="34" charset="0"/>
              </a:rPr>
              <a:t>estado</a:t>
            </a:r>
            <a:r>
              <a:rPr lang="en-US" altLang="zh-CN" sz="1200" dirty="0">
                <a:latin typeface="Calibri" pitchFamily="34" charset="0"/>
                <a:cs typeface="Calibri" pitchFamily="34" charset="0"/>
              </a:rPr>
              <a:t> do Parana</a:t>
            </a:r>
          </a:p>
        </p:txBody>
      </p:sp>
      <p:sp>
        <p:nvSpPr>
          <p:cNvPr id="73" name="Text Box 16">
            <a:extLst>
              <a:ext uri="{FF2B5EF4-FFF2-40B4-BE49-F238E27FC236}">
                <a16:creationId xmlns:a16="http://schemas.microsoft.com/office/drawing/2014/main" id="{26385042-1726-4F56-96AF-C4B3915AAB8C}"/>
              </a:ext>
            </a:extLst>
          </p:cNvPr>
          <p:cNvSpPr txBox="1">
            <a:spLocks noChangeArrowheads="1"/>
          </p:cNvSpPr>
          <p:nvPr/>
        </p:nvSpPr>
        <p:spPr bwMode="auto">
          <a:xfrm>
            <a:off x="6365646" y="5637049"/>
            <a:ext cx="1798644" cy="501419"/>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err="1">
                <a:latin typeface="Calibri" pitchFamily="34" charset="0"/>
                <a:cs typeface="Calibri" pitchFamily="34" charset="0"/>
              </a:rPr>
              <a:t>Distribuição</a:t>
            </a:r>
            <a:r>
              <a:rPr lang="en-US" altLang="zh-CN" sz="1200" dirty="0">
                <a:latin typeface="Calibri" pitchFamily="34" charset="0"/>
                <a:cs typeface="Calibri" pitchFamily="34" charset="0"/>
              </a:rPr>
              <a:t> no </a:t>
            </a:r>
            <a:r>
              <a:rPr lang="en-US" altLang="zh-CN" sz="1200" dirty="0" err="1">
                <a:latin typeface="Calibri" pitchFamily="34" charset="0"/>
                <a:cs typeface="Calibri" pitchFamily="34" charset="0"/>
              </a:rPr>
              <a:t>estado</a:t>
            </a:r>
            <a:r>
              <a:rPr lang="en-US" altLang="zh-CN" sz="1200" dirty="0">
                <a:latin typeface="Calibri" pitchFamily="34" charset="0"/>
                <a:cs typeface="Calibri" pitchFamily="34" charset="0"/>
              </a:rPr>
              <a:t> do Rio Grande do Sul</a:t>
            </a:r>
          </a:p>
        </p:txBody>
      </p:sp>
    </p:spTree>
    <p:extLst>
      <p:ext uri="{BB962C8B-B14F-4D97-AF65-F5344CB8AC3E}">
        <p14:creationId xmlns:p14="http://schemas.microsoft.com/office/powerpoint/2010/main" val="2852069274"/>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a:t>Subheadline</a:t>
            </a:r>
            <a:endParaRPr lang="en-US" dirty="0"/>
          </a:p>
        </p:txBody>
      </p:sp>
      <p:sp>
        <p:nvSpPr>
          <p:cNvPr id="2" name="Title 1"/>
          <p:cNvSpPr>
            <a:spLocks noGrp="1"/>
          </p:cNvSpPr>
          <p:nvPr>
            <p:ph type="title"/>
          </p:nvPr>
        </p:nvSpPr>
        <p:spPr/>
        <p:txBody>
          <a:bodyPr/>
          <a:lstStyle/>
          <a:p>
            <a:r>
              <a:rPr lang="en-US"/>
              <a:t>Headline</a:t>
            </a:r>
            <a:endParaRPr lang="en-US" dirty="0"/>
          </a:p>
        </p:txBody>
      </p:sp>
      <p:sp>
        <p:nvSpPr>
          <p:cNvPr id="3" name="Text Placeholder 2"/>
          <p:cNvSpPr>
            <a:spLocks noGrp="1"/>
          </p:cNvSpPr>
          <p:nvPr>
            <p:ph sz="quarter" idx="16"/>
          </p:nvPr>
        </p:nvSpPr>
        <p:spPr/>
        <p:txBody>
          <a:bodyPr/>
          <a:lstStyle/>
          <a:p>
            <a:r>
              <a:rPr lang="en-US"/>
              <a:t>Lorem ipsum dolor sit amet, consectetuer adipiscing elit. Maecenas porttitor congue massa. Fusce posuere, magna sed pulvinar ultricies, purus lectus malesuada libero, sit amet commodo magna eros quis urna.</a:t>
            </a:r>
          </a:p>
          <a:p>
            <a:r>
              <a:rPr lang="en-US"/>
              <a:t>Nunc viverra imperdiet enim. Fusce est. Vivamus a tellus.</a:t>
            </a:r>
          </a:p>
          <a:p>
            <a:r>
              <a:rPr lang="en-US"/>
              <a:t>Pellentesque habitant morbi tristique senectus et netus et malesuada fames ac turpis egestas. Proin pharetra nonummy pede. Mauris et orci.</a:t>
            </a:r>
          </a:p>
          <a:p>
            <a:pPr lvl="1"/>
            <a:r>
              <a:rPr lang="en-US"/>
              <a:t>Text</a:t>
            </a:r>
          </a:p>
          <a:p>
            <a:pPr lvl="2"/>
            <a:r>
              <a:rPr lang="en-US"/>
              <a:t>Text</a:t>
            </a:r>
          </a:p>
          <a:p>
            <a:pPr lvl="3"/>
            <a:r>
              <a:rPr lang="en-US"/>
              <a:t>Text</a:t>
            </a:r>
            <a:endParaRPr lang="en-US" dirty="0"/>
          </a:p>
        </p:txBody>
      </p:sp>
      <p:sp>
        <p:nvSpPr>
          <p:cNvPr id="4" name="Text Placeholder 3"/>
          <p:cNvSpPr>
            <a:spLocks noGrp="1"/>
          </p:cNvSpPr>
          <p:nvPr>
            <p:ph sz="quarter" idx="17"/>
          </p:nvPr>
        </p:nvSpPr>
        <p:spPr/>
        <p:txBody>
          <a:bodyPr/>
          <a:lstStyle/>
          <a:p>
            <a:r>
              <a:rPr lang="en-US"/>
              <a:t>Lorem ipsum dolor sit amet, consectetuer adipiscing elit. Maecenas porttitor congue massa. Fusce posuere, magna sed pulvinar ultricies, purus lectus malesuada libero, sit amet commodo magna eros quis urna.</a:t>
            </a:r>
          </a:p>
          <a:p>
            <a:r>
              <a:rPr lang="en-US"/>
              <a:t>Nunc viverra imperdiet enim. Fusce est. Vivamus a tellus.</a:t>
            </a:r>
          </a:p>
          <a:p>
            <a:r>
              <a:rPr lang="en-US"/>
              <a:t>Pellentesque habitant morbi tristique senectus et netus et malesuada fames ac turpis egestas. Proin pharetra nonummy pede. Mauris et orci.</a:t>
            </a:r>
          </a:p>
          <a:p>
            <a:pPr lvl="1"/>
            <a:r>
              <a:rPr lang="en-US"/>
              <a:t>Text</a:t>
            </a:r>
          </a:p>
          <a:p>
            <a:pPr lvl="2"/>
            <a:r>
              <a:rPr lang="en-US"/>
              <a:t>Text</a:t>
            </a:r>
          </a:p>
          <a:p>
            <a:pPr lvl="3"/>
            <a:r>
              <a:rPr lang="en-US"/>
              <a:t>Text</a:t>
            </a:r>
            <a:endParaRPr lang="en-US" dirty="0"/>
          </a:p>
        </p:txBody>
      </p:sp>
      <p:sp>
        <p:nvSpPr>
          <p:cNvPr id="15" name="Fußzeilenplatzhalter 14"/>
          <p:cNvSpPr>
            <a:spLocks noGrp="1"/>
          </p:cNvSpPr>
          <p:nvPr>
            <p:ph type="ftr" sz="quarter" idx="11"/>
          </p:nvPr>
        </p:nvSpPr>
        <p:spPr/>
        <p:txBody>
          <a:bodyPr/>
          <a:lstStyle/>
          <a:p>
            <a:r>
              <a:rPr lang="en-US"/>
              <a:t>/// Bayer 16:9 Template /// September 2018</a:t>
            </a:r>
            <a:endParaRPr lang="en-US" dirty="0"/>
          </a:p>
        </p:txBody>
      </p:sp>
      <p:sp>
        <p:nvSpPr>
          <p:cNvPr id="16" name="Foliennummernplatzhalter 15"/>
          <p:cNvSpPr>
            <a:spLocks noGrp="1"/>
          </p:cNvSpPr>
          <p:nvPr>
            <p:ph type="sldNum" sz="quarter" idx="12"/>
          </p:nvPr>
        </p:nvSpPr>
        <p:spPr/>
        <p:txBody>
          <a:bodyPr/>
          <a:lstStyle/>
          <a:p>
            <a:fld id="{EEAD9179-7A6B-4268-BEB2-F3B8EB06115B}" type="slidenum">
              <a:rPr lang="en-US" smtClean="0"/>
              <a:t>16</a:t>
            </a:fld>
            <a:endParaRPr lang="en-US" dirty="0"/>
          </a:p>
        </p:txBody>
      </p:sp>
    </p:spTree>
    <p:extLst>
      <p:ext uri="{BB962C8B-B14F-4D97-AF65-F5344CB8AC3E}">
        <p14:creationId xmlns:p14="http://schemas.microsoft.com/office/powerpoint/2010/main" val="1834960188"/>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a:t>Subheadline</a:t>
            </a:r>
            <a:endParaRPr lang="en-US" dirty="0"/>
          </a:p>
        </p:txBody>
      </p:sp>
      <p:sp>
        <p:nvSpPr>
          <p:cNvPr id="2" name="Title 1"/>
          <p:cNvSpPr>
            <a:spLocks noGrp="1"/>
          </p:cNvSpPr>
          <p:nvPr>
            <p:ph type="title"/>
          </p:nvPr>
        </p:nvSpPr>
        <p:spPr/>
        <p:txBody>
          <a:bodyPr/>
          <a:lstStyle/>
          <a:p>
            <a:r>
              <a:rPr lang="en-US"/>
              <a:t>Headline</a:t>
            </a:r>
            <a:endParaRPr lang="en-US" dirty="0"/>
          </a:p>
        </p:txBody>
      </p:sp>
      <p:sp>
        <p:nvSpPr>
          <p:cNvPr id="3" name="Text Placeholder 2"/>
          <p:cNvSpPr>
            <a:spLocks noGrp="1"/>
          </p:cNvSpPr>
          <p:nvPr>
            <p:ph type="body" sz="quarter" idx="14"/>
          </p:nvPr>
        </p:nvSpPr>
        <p:spPr/>
        <p:txBody>
          <a:bodyPr/>
          <a:lstStyle/>
          <a:p>
            <a:r>
              <a:rPr lang="en-US"/>
              <a:t>Lorem ipsum dolor sit amet, consectetuer adipiscing elit. Maecenas porttitor congue massa. Fusce posuere, magna sed pulvinar ultricies, purus lectus malesuada libero, sit amet commodo magna eros quis urna.</a:t>
            </a:r>
          </a:p>
          <a:p>
            <a:pPr lvl="1"/>
            <a:r>
              <a:rPr lang="en-US"/>
              <a:t>Text</a:t>
            </a:r>
          </a:p>
          <a:p>
            <a:pPr lvl="2"/>
            <a:r>
              <a:rPr lang="en-US"/>
              <a:t>Text</a:t>
            </a:r>
          </a:p>
          <a:p>
            <a:pPr lvl="3"/>
            <a:r>
              <a:rPr lang="en-US"/>
              <a:t>Text</a:t>
            </a:r>
            <a:endParaRPr lang="en-US" dirty="0"/>
          </a:p>
        </p:txBody>
      </p:sp>
      <p:sp>
        <p:nvSpPr>
          <p:cNvPr id="4" name="Text Placeholder 3"/>
          <p:cNvSpPr>
            <a:spLocks noGrp="1"/>
          </p:cNvSpPr>
          <p:nvPr>
            <p:ph type="body" sz="quarter" idx="15"/>
          </p:nvPr>
        </p:nvSpPr>
        <p:spPr/>
        <p:txBody>
          <a:bodyPr/>
          <a:lstStyle/>
          <a:p>
            <a:r>
              <a:rPr lang="en-US"/>
              <a:t>Lorem ipsum dolor sit amet, consectetuer adipiscing elit. Maecenas porttitor congue massa. Fusce posuere, magna sed pulvinar ultricies, purus lectus malesuada libero, sit amet commodo magna eros quis urna.</a:t>
            </a:r>
          </a:p>
          <a:p>
            <a:pPr lvl="1"/>
            <a:r>
              <a:rPr lang="en-US"/>
              <a:t>Text</a:t>
            </a:r>
          </a:p>
          <a:p>
            <a:pPr lvl="2"/>
            <a:r>
              <a:rPr lang="en-US"/>
              <a:t>Text</a:t>
            </a:r>
          </a:p>
          <a:p>
            <a:pPr lvl="3"/>
            <a:r>
              <a:rPr lang="en-US"/>
              <a:t>Text</a:t>
            </a:r>
            <a:endParaRPr lang="en-US" dirty="0"/>
          </a:p>
        </p:txBody>
      </p:sp>
      <p:pic>
        <p:nvPicPr>
          <p:cNvPr id="14" name="Picture Placeholder 9"/>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t="19352" b="19352"/>
          <a:stretch>
            <a:fillRect/>
          </a:stretch>
        </p:blipFill>
        <p:spPr/>
      </p:pic>
      <p:pic>
        <p:nvPicPr>
          <p:cNvPr id="13" name="Picture Placeholder 2"/>
          <p:cNvPicPr>
            <a:picLocks noGrp="1" noChangeAspect="1"/>
          </p:cNvPicPr>
          <p:nvPr>
            <p:ph type="pic" sz="quarter" idx="17"/>
          </p:nvPr>
        </p:nvPicPr>
        <p:blipFill>
          <a:blip r:embed="rId4">
            <a:extLst>
              <a:ext uri="{28A0092B-C50C-407E-A947-70E740481C1C}">
                <a14:useLocalDpi xmlns:a14="http://schemas.microsoft.com/office/drawing/2010/main" val="0"/>
              </a:ext>
            </a:extLst>
          </a:blip>
          <a:srcRect t="24127" b="24127"/>
          <a:stretch>
            <a:fillRect/>
          </a:stretch>
        </p:blipFill>
        <p:spPr/>
      </p:pic>
      <p:sp>
        <p:nvSpPr>
          <p:cNvPr id="19" name="Fußzeilenplatzhalter 18"/>
          <p:cNvSpPr>
            <a:spLocks noGrp="1"/>
          </p:cNvSpPr>
          <p:nvPr>
            <p:ph type="ftr" sz="quarter" idx="11"/>
          </p:nvPr>
        </p:nvSpPr>
        <p:spPr/>
        <p:txBody>
          <a:bodyPr/>
          <a:lstStyle/>
          <a:p>
            <a:r>
              <a:rPr lang="en-US"/>
              <a:t>/// Bayer 16:9 Template /// September 2018</a:t>
            </a:r>
            <a:endParaRPr lang="en-US" dirty="0"/>
          </a:p>
        </p:txBody>
      </p:sp>
      <p:sp>
        <p:nvSpPr>
          <p:cNvPr id="20" name="Foliennummernplatzhalter 19"/>
          <p:cNvSpPr>
            <a:spLocks noGrp="1"/>
          </p:cNvSpPr>
          <p:nvPr>
            <p:ph type="sldNum" sz="quarter" idx="12"/>
          </p:nvPr>
        </p:nvSpPr>
        <p:spPr/>
        <p:txBody>
          <a:bodyPr/>
          <a:lstStyle/>
          <a:p>
            <a:fld id="{EEAD9179-7A6B-4268-BEB2-F3B8EB06115B}" type="slidenum">
              <a:rPr lang="en-US" smtClean="0"/>
              <a:t>17</a:t>
            </a:fld>
            <a:endParaRPr lang="en-US" dirty="0"/>
          </a:p>
        </p:txBody>
      </p:sp>
    </p:spTree>
    <p:extLst>
      <p:ext uri="{BB962C8B-B14F-4D97-AF65-F5344CB8AC3E}">
        <p14:creationId xmlns:p14="http://schemas.microsoft.com/office/powerpoint/2010/main" val="3570364495"/>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p:cNvSpPr>
            <a:spLocks noGrp="1"/>
          </p:cNvSpPr>
          <p:nvPr>
            <p:ph type="subTitle" idx="1"/>
          </p:nvPr>
        </p:nvSpPr>
        <p:spPr/>
        <p:txBody>
          <a:bodyPr/>
          <a:lstStyle/>
          <a:p>
            <a:r>
              <a:rPr lang="en-US" dirty="0"/>
              <a:t>Today we’re introducing </a:t>
            </a:r>
            <a:br>
              <a:rPr lang="en-US" dirty="0"/>
            </a:br>
            <a:r>
              <a:rPr lang="en-US" dirty="0"/>
              <a:t>you to the </a:t>
            </a:r>
            <a:r>
              <a:rPr lang="en-US" dirty="0">
                <a:solidFill>
                  <a:schemeClr val="accent5"/>
                </a:solidFill>
              </a:rPr>
              <a:t>next stage </a:t>
            </a:r>
            <a:br>
              <a:rPr lang="en-US" dirty="0"/>
            </a:br>
            <a:r>
              <a:rPr lang="en-US" dirty="0"/>
              <a:t>of our brand journey</a:t>
            </a:r>
          </a:p>
        </p:txBody>
      </p:sp>
      <p:sp>
        <p:nvSpPr>
          <p:cNvPr id="9" name="Titel 8"/>
          <p:cNvSpPr>
            <a:spLocks noGrp="1"/>
          </p:cNvSpPr>
          <p:nvPr>
            <p:ph type="title"/>
          </p:nvPr>
        </p:nvSpPr>
        <p:spPr/>
        <p:txBody>
          <a:bodyPr/>
          <a:lstStyle/>
          <a:p>
            <a:endParaRPr lang="en-US"/>
          </a:p>
        </p:txBody>
      </p:sp>
      <p:sp>
        <p:nvSpPr>
          <p:cNvPr id="11" name="Fußzeilenplatzhalter 10"/>
          <p:cNvSpPr>
            <a:spLocks noGrp="1"/>
          </p:cNvSpPr>
          <p:nvPr>
            <p:ph type="ftr" sz="quarter" idx="11"/>
          </p:nvPr>
        </p:nvSpPr>
        <p:spPr/>
        <p:txBody>
          <a:bodyPr/>
          <a:lstStyle/>
          <a:p>
            <a:r>
              <a:rPr lang="en-US"/>
              <a:t>/// Bayer 16:9 Template /// September 2018</a:t>
            </a:r>
            <a:endParaRPr lang="en-US" dirty="0"/>
          </a:p>
        </p:txBody>
      </p:sp>
      <p:sp>
        <p:nvSpPr>
          <p:cNvPr id="13" name="Foliennummernplatzhalter 12"/>
          <p:cNvSpPr>
            <a:spLocks noGrp="1"/>
          </p:cNvSpPr>
          <p:nvPr>
            <p:ph type="sldNum" sz="quarter" idx="12"/>
          </p:nvPr>
        </p:nvSpPr>
        <p:spPr/>
        <p:txBody>
          <a:bodyPr/>
          <a:lstStyle/>
          <a:p>
            <a:fld id="{EEAD9179-7A6B-4268-BEB2-F3B8EB06115B}" type="slidenum">
              <a:rPr lang="en-US" smtClean="0"/>
              <a:pPr/>
              <a:t>18</a:t>
            </a:fld>
            <a:endParaRPr lang="en-US" dirty="0"/>
          </a:p>
        </p:txBody>
      </p:sp>
    </p:spTree>
    <p:extLst>
      <p:ext uri="{BB962C8B-B14F-4D97-AF65-F5344CB8AC3E}">
        <p14:creationId xmlns:p14="http://schemas.microsoft.com/office/powerpoint/2010/main" val="3202526290"/>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t="7796" b="7796"/>
          <a:stretch>
            <a:fillRect/>
          </a:stretch>
        </p:blipFill>
        <p:spPr/>
      </p:pic>
      <p:sp>
        <p:nvSpPr>
          <p:cNvPr id="9" name="Fußzeilenplatzhalter 8"/>
          <p:cNvSpPr>
            <a:spLocks noGrp="1"/>
          </p:cNvSpPr>
          <p:nvPr>
            <p:ph type="ftr" sz="quarter" idx="11"/>
          </p:nvPr>
        </p:nvSpPr>
        <p:spPr/>
        <p:txBody>
          <a:bodyPr/>
          <a:lstStyle/>
          <a:p>
            <a:r>
              <a:rPr lang="en-US"/>
              <a:t>/// Bayer 16:9 Template /// September 2018</a:t>
            </a:r>
            <a:endParaRPr lang="en-US" dirty="0"/>
          </a:p>
        </p:txBody>
      </p:sp>
      <p:sp>
        <p:nvSpPr>
          <p:cNvPr id="10" name="Foliennummernplatzhalter 9"/>
          <p:cNvSpPr>
            <a:spLocks noGrp="1"/>
          </p:cNvSpPr>
          <p:nvPr>
            <p:ph type="sldNum" sz="quarter" idx="12"/>
          </p:nvPr>
        </p:nvSpPr>
        <p:spPr/>
        <p:txBody>
          <a:bodyPr/>
          <a:lstStyle/>
          <a:p>
            <a:fld id="{EEAD9179-7A6B-4268-BEB2-F3B8EB06115B}" type="slidenum">
              <a:rPr lang="en-US" smtClean="0"/>
              <a:pPr/>
              <a:t>19</a:t>
            </a:fld>
            <a:endParaRPr lang="en-US" dirty="0"/>
          </a:p>
        </p:txBody>
      </p:sp>
    </p:spTree>
    <p:extLst>
      <p:ext uri="{BB962C8B-B14F-4D97-AF65-F5344CB8AC3E}">
        <p14:creationId xmlns:p14="http://schemas.microsoft.com/office/powerpoint/2010/main" val="2733786943"/>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BCFF"/>
        </a:solidFill>
        <a:effectLst/>
      </p:bgPr>
    </p:bg>
    <p:spTree>
      <p:nvGrpSpPr>
        <p:cNvPr id="1" name=""/>
        <p:cNvGrpSpPr/>
        <p:nvPr/>
      </p:nvGrpSpPr>
      <p:grpSpPr>
        <a:xfrm>
          <a:off x="0" y="0"/>
          <a:ext cx="0" cy="0"/>
          <a:chOff x="0" y="0"/>
          <a:chExt cx="0" cy="0"/>
        </a:xfrm>
      </p:grpSpPr>
      <p:sp>
        <p:nvSpPr>
          <p:cNvPr id="8" name="Title 7"/>
          <p:cNvSpPr>
            <a:spLocks noGrp="1"/>
          </p:cNvSpPr>
          <p:nvPr>
            <p:ph type="title"/>
          </p:nvPr>
        </p:nvSpPr>
        <p:spPr>
          <a:xfrm>
            <a:off x="4365711" y="1848720"/>
            <a:ext cx="4500000" cy="1440753"/>
          </a:xfrm>
        </p:spPr>
        <p:txBody>
          <a:bodyPr/>
          <a:lstStyle/>
          <a:p>
            <a:r>
              <a:rPr lang="en-US" dirty="0"/>
              <a:t>Gustavo </a:t>
            </a:r>
            <a:br>
              <a:rPr lang="en-US" dirty="0"/>
            </a:br>
            <a:r>
              <a:rPr lang="en-US" dirty="0"/>
              <a:t>dos Santos</a:t>
            </a:r>
          </a:p>
        </p:txBody>
      </p:sp>
      <p:sp>
        <p:nvSpPr>
          <p:cNvPr id="9" name="Subtitle 8"/>
          <p:cNvSpPr>
            <a:spLocks noGrp="1"/>
          </p:cNvSpPr>
          <p:nvPr>
            <p:ph type="subTitle" idx="1"/>
          </p:nvPr>
        </p:nvSpPr>
        <p:spPr>
          <a:xfrm>
            <a:off x="4365711" y="3493849"/>
            <a:ext cx="4500000" cy="2054514"/>
          </a:xfrm>
        </p:spPr>
        <p:txBody>
          <a:bodyPr/>
          <a:lstStyle/>
          <a:p>
            <a:pPr algn="l"/>
            <a:r>
              <a:rPr lang="en-US" dirty="0"/>
              <a:t>São Paulo - Capital</a:t>
            </a:r>
          </a:p>
          <a:p>
            <a:pPr algn="l"/>
            <a:r>
              <a:rPr lang="en-US" dirty="0"/>
              <a:t>29 </a:t>
            </a:r>
            <a:r>
              <a:rPr lang="en-US" dirty="0" err="1"/>
              <a:t>Anos</a:t>
            </a:r>
            <a:endParaRPr lang="en-US" dirty="0"/>
          </a:p>
          <a:p>
            <a:pPr algn="l"/>
            <a:r>
              <a:rPr lang="en-US" dirty="0" err="1"/>
              <a:t>Estudante</a:t>
            </a:r>
            <a:r>
              <a:rPr lang="en-US" dirty="0"/>
              <a:t> de Eng. De </a:t>
            </a:r>
            <a:r>
              <a:rPr lang="en-US" dirty="0" err="1"/>
              <a:t>Produção</a:t>
            </a:r>
            <a:endParaRPr lang="en-US" dirty="0"/>
          </a:p>
        </p:txBody>
      </p:sp>
      <p:sp>
        <p:nvSpPr>
          <p:cNvPr id="11" name="Fußzeilenplatzhalter 10"/>
          <p:cNvSpPr>
            <a:spLocks noGrp="1"/>
          </p:cNvSpPr>
          <p:nvPr>
            <p:ph type="ftr" sz="quarter" idx="11"/>
          </p:nvPr>
        </p:nvSpPr>
        <p:spPr/>
        <p:txBody>
          <a:bodyPr/>
          <a:lstStyle/>
          <a:p>
            <a:r>
              <a:rPr lang="en-US"/>
              <a:t>/// Bayer 16:9 Template /// September 2018</a:t>
            </a:r>
            <a:endParaRPr lang="en-US" dirty="0"/>
          </a:p>
        </p:txBody>
      </p:sp>
      <p:sp>
        <p:nvSpPr>
          <p:cNvPr id="12" name="Foliennummernplatzhalter 11"/>
          <p:cNvSpPr>
            <a:spLocks noGrp="1"/>
          </p:cNvSpPr>
          <p:nvPr>
            <p:ph type="sldNum" sz="quarter" idx="12"/>
          </p:nvPr>
        </p:nvSpPr>
        <p:spPr/>
        <p:txBody>
          <a:bodyPr/>
          <a:lstStyle/>
          <a:p>
            <a:fld id="{EEAD9179-7A6B-4268-BEB2-F3B8EB06115B}" type="slidenum">
              <a:rPr lang="en-US" smtClean="0"/>
              <a:pPr/>
              <a:t>2</a:t>
            </a:fld>
            <a:endParaRPr lang="en-US" dirty="0"/>
          </a:p>
        </p:txBody>
      </p:sp>
      <p:pic>
        <p:nvPicPr>
          <p:cNvPr id="3" name="Imagem 2">
            <a:extLst>
              <a:ext uri="{FF2B5EF4-FFF2-40B4-BE49-F238E27FC236}">
                <a16:creationId xmlns:a16="http://schemas.microsoft.com/office/drawing/2014/main" id="{D4EC29FB-9716-45B0-AA2A-4A0B4A22DCCA}"/>
              </a:ext>
            </a:extLst>
          </p:cNvPr>
          <p:cNvPicPr>
            <a:picLocks noChangeAspect="1"/>
          </p:cNvPicPr>
          <p:nvPr/>
        </p:nvPicPr>
        <p:blipFill rotWithShape="1">
          <a:blip r:embed="rId3"/>
          <a:srcRect l="10769" r="20308"/>
          <a:stretch/>
        </p:blipFill>
        <p:spPr>
          <a:xfrm rot="16200000">
            <a:off x="522467" y="2206048"/>
            <a:ext cx="3746548" cy="305766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09328967"/>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a:t>Zukunftsgerichtete Aussagen</a:t>
            </a:r>
            <a:endParaRPr lang="en-US" dirty="0"/>
          </a:p>
        </p:txBody>
      </p:sp>
      <p:sp>
        <p:nvSpPr>
          <p:cNvPr id="13" name="Inhaltsplatzhalter 12"/>
          <p:cNvSpPr>
            <a:spLocks noGrp="1"/>
          </p:cNvSpPr>
          <p:nvPr>
            <p:ph sz="quarter" idx="14"/>
          </p:nvPr>
        </p:nvSpPr>
        <p:spPr/>
        <p:txBody>
          <a:bodyPr/>
          <a:lstStyle/>
          <a:p>
            <a:r>
              <a:rPr lang="en-US" dirty="0" err="1"/>
              <a:t>Diese</a:t>
            </a:r>
            <a:r>
              <a:rPr lang="en-US" dirty="0"/>
              <a:t> Website / </a:t>
            </a:r>
            <a:r>
              <a:rPr lang="en-US" dirty="0" err="1"/>
              <a:t>Presse</a:t>
            </a:r>
            <a:r>
              <a:rPr lang="en-US" dirty="0"/>
              <a:t>-Information / </a:t>
            </a:r>
            <a:r>
              <a:rPr lang="en-US" dirty="0" err="1"/>
              <a:t>Präsentation</a:t>
            </a:r>
            <a:r>
              <a:rPr lang="en-US" dirty="0"/>
              <a:t> </a:t>
            </a:r>
            <a:r>
              <a:rPr lang="en-US" dirty="0" err="1"/>
              <a:t>kann</a:t>
            </a:r>
            <a:r>
              <a:rPr lang="en-US" dirty="0"/>
              <a:t> </a:t>
            </a:r>
            <a:r>
              <a:rPr lang="en-US" dirty="0" err="1"/>
              <a:t>bestimmte</a:t>
            </a:r>
            <a:r>
              <a:rPr lang="en-US" dirty="0"/>
              <a:t> in die </a:t>
            </a:r>
            <a:r>
              <a:rPr lang="en-US" dirty="0" err="1"/>
              <a:t>Zukunft</a:t>
            </a:r>
            <a:r>
              <a:rPr lang="en-US" dirty="0"/>
              <a:t> </a:t>
            </a:r>
            <a:r>
              <a:rPr lang="en-US" dirty="0" err="1"/>
              <a:t>gerichtete</a:t>
            </a:r>
            <a:r>
              <a:rPr lang="en-US" dirty="0"/>
              <a:t> </a:t>
            </a:r>
            <a:r>
              <a:rPr lang="en-US" dirty="0" err="1"/>
              <a:t>Aussagen</a:t>
            </a:r>
            <a:r>
              <a:rPr lang="en-US" dirty="0"/>
              <a:t> </a:t>
            </a:r>
            <a:r>
              <a:rPr lang="en-US" dirty="0" err="1"/>
              <a:t>enthalten</a:t>
            </a:r>
            <a:r>
              <a:rPr lang="en-US" dirty="0"/>
              <a:t>, die auf den </a:t>
            </a:r>
            <a:r>
              <a:rPr lang="en-US" dirty="0" err="1"/>
              <a:t>gegenwärtigen</a:t>
            </a:r>
            <a:r>
              <a:rPr lang="en-US" dirty="0"/>
              <a:t> </a:t>
            </a:r>
            <a:r>
              <a:rPr lang="en-US" dirty="0" err="1"/>
              <a:t>Annahmen</a:t>
            </a:r>
            <a:r>
              <a:rPr lang="en-US" dirty="0"/>
              <a:t> und </a:t>
            </a:r>
            <a:r>
              <a:rPr lang="en-US" dirty="0" err="1"/>
              <a:t>Prognosen</a:t>
            </a:r>
            <a:r>
              <a:rPr lang="en-US" dirty="0"/>
              <a:t> der </a:t>
            </a:r>
            <a:r>
              <a:rPr lang="en-US" dirty="0" err="1"/>
              <a:t>Unternehmensleitung</a:t>
            </a:r>
            <a:r>
              <a:rPr lang="en-US" dirty="0"/>
              <a:t> von Bayer </a:t>
            </a:r>
            <a:r>
              <a:rPr lang="en-US" dirty="0" err="1"/>
              <a:t>beruhen</a:t>
            </a:r>
            <a:r>
              <a:rPr lang="en-US" dirty="0"/>
              <a:t>. </a:t>
            </a:r>
          </a:p>
          <a:p>
            <a:r>
              <a:rPr lang="en-US" dirty="0" err="1"/>
              <a:t>Verschiedene</a:t>
            </a:r>
            <a:r>
              <a:rPr lang="en-US" dirty="0"/>
              <a:t> </a:t>
            </a:r>
            <a:r>
              <a:rPr lang="en-US" dirty="0" err="1"/>
              <a:t>bekannte</a:t>
            </a:r>
            <a:r>
              <a:rPr lang="en-US" dirty="0"/>
              <a:t> </a:t>
            </a:r>
            <a:r>
              <a:rPr lang="en-US" dirty="0" err="1"/>
              <a:t>wie</a:t>
            </a:r>
            <a:r>
              <a:rPr lang="en-US" dirty="0"/>
              <a:t> </a:t>
            </a:r>
            <a:r>
              <a:rPr lang="en-US" dirty="0" err="1"/>
              <a:t>auch</a:t>
            </a:r>
            <a:r>
              <a:rPr lang="en-US" dirty="0"/>
              <a:t> </a:t>
            </a:r>
            <a:r>
              <a:rPr lang="en-US" dirty="0" err="1"/>
              <a:t>unbekannte</a:t>
            </a:r>
            <a:r>
              <a:rPr lang="en-US" dirty="0"/>
              <a:t> </a:t>
            </a:r>
            <a:r>
              <a:rPr lang="en-US" dirty="0" err="1"/>
              <a:t>Risiken</a:t>
            </a:r>
            <a:r>
              <a:rPr lang="en-US" dirty="0"/>
              <a:t>, </a:t>
            </a:r>
            <a:r>
              <a:rPr lang="en-US" dirty="0" err="1"/>
              <a:t>Ungewissheiten</a:t>
            </a:r>
            <a:r>
              <a:rPr lang="en-US" dirty="0"/>
              <a:t> und </a:t>
            </a:r>
            <a:r>
              <a:rPr lang="en-US" dirty="0" err="1"/>
              <a:t>andere</a:t>
            </a:r>
            <a:r>
              <a:rPr lang="en-US" dirty="0"/>
              <a:t> </a:t>
            </a:r>
            <a:r>
              <a:rPr lang="en-US" dirty="0" err="1"/>
              <a:t>Faktoren</a:t>
            </a:r>
            <a:r>
              <a:rPr lang="en-US" dirty="0"/>
              <a:t> </a:t>
            </a:r>
            <a:r>
              <a:rPr lang="en-US" dirty="0" err="1"/>
              <a:t>können</a:t>
            </a:r>
            <a:r>
              <a:rPr lang="en-US" dirty="0"/>
              <a:t> </a:t>
            </a:r>
            <a:r>
              <a:rPr lang="en-US" dirty="0" err="1"/>
              <a:t>dazu</a:t>
            </a:r>
            <a:r>
              <a:rPr lang="en-US" dirty="0"/>
              <a:t> </a:t>
            </a:r>
            <a:r>
              <a:rPr lang="en-US" dirty="0" err="1"/>
              <a:t>führen</a:t>
            </a:r>
            <a:r>
              <a:rPr lang="en-US" dirty="0"/>
              <a:t>, </a:t>
            </a:r>
            <a:r>
              <a:rPr lang="en-US" dirty="0" err="1"/>
              <a:t>dass</a:t>
            </a:r>
            <a:r>
              <a:rPr lang="en-US" dirty="0"/>
              <a:t> die </a:t>
            </a:r>
            <a:r>
              <a:rPr lang="en-US" dirty="0" err="1"/>
              <a:t>tatsächlichen</a:t>
            </a:r>
            <a:r>
              <a:rPr lang="en-US" dirty="0"/>
              <a:t> </a:t>
            </a:r>
            <a:r>
              <a:rPr lang="en-US" dirty="0" err="1"/>
              <a:t>Ergebnisse</a:t>
            </a:r>
            <a:r>
              <a:rPr lang="en-US" dirty="0"/>
              <a:t>, die </a:t>
            </a:r>
            <a:r>
              <a:rPr lang="en-US" dirty="0" err="1"/>
              <a:t>Finanzlage</a:t>
            </a:r>
            <a:r>
              <a:rPr lang="en-US" dirty="0"/>
              <a:t>, die </a:t>
            </a:r>
            <a:r>
              <a:rPr lang="en-US" dirty="0" err="1"/>
              <a:t>Entwicklung</a:t>
            </a:r>
            <a:r>
              <a:rPr lang="en-US" dirty="0"/>
              <a:t> </a:t>
            </a:r>
            <a:r>
              <a:rPr lang="en-US" dirty="0" err="1"/>
              <a:t>oder</a:t>
            </a:r>
            <a:r>
              <a:rPr lang="en-US" dirty="0"/>
              <a:t> die Performance der </a:t>
            </a:r>
            <a:r>
              <a:rPr lang="en-US" dirty="0" err="1"/>
              <a:t>Gesellschaft</a:t>
            </a:r>
            <a:r>
              <a:rPr lang="en-US" dirty="0"/>
              <a:t> </a:t>
            </a:r>
            <a:r>
              <a:rPr lang="en-US" dirty="0" err="1"/>
              <a:t>wesentlich</a:t>
            </a:r>
            <a:r>
              <a:rPr lang="en-US" dirty="0"/>
              <a:t> von den </a:t>
            </a:r>
            <a:r>
              <a:rPr lang="en-US" dirty="0" err="1"/>
              <a:t>hier</a:t>
            </a:r>
            <a:r>
              <a:rPr lang="en-US" dirty="0"/>
              <a:t> </a:t>
            </a:r>
            <a:r>
              <a:rPr lang="en-US" dirty="0" err="1"/>
              <a:t>gegebenen</a:t>
            </a:r>
            <a:r>
              <a:rPr lang="en-US" dirty="0"/>
              <a:t> </a:t>
            </a:r>
            <a:r>
              <a:rPr lang="en-US" dirty="0" err="1"/>
              <a:t>Einschätzungen</a:t>
            </a:r>
            <a:r>
              <a:rPr lang="en-US" dirty="0"/>
              <a:t> </a:t>
            </a:r>
            <a:r>
              <a:rPr lang="en-US" dirty="0" err="1"/>
              <a:t>abweichen</a:t>
            </a:r>
            <a:r>
              <a:rPr lang="en-US" dirty="0"/>
              <a:t>. </a:t>
            </a:r>
            <a:r>
              <a:rPr lang="en-US" dirty="0" err="1"/>
              <a:t>Diese</a:t>
            </a:r>
            <a:r>
              <a:rPr lang="en-US" dirty="0"/>
              <a:t> </a:t>
            </a:r>
            <a:r>
              <a:rPr lang="en-US" dirty="0" err="1"/>
              <a:t>Faktoren</a:t>
            </a:r>
            <a:r>
              <a:rPr lang="en-US" dirty="0"/>
              <a:t> </a:t>
            </a:r>
            <a:r>
              <a:rPr lang="en-US" dirty="0" err="1"/>
              <a:t>schließen</a:t>
            </a:r>
            <a:r>
              <a:rPr lang="en-US" dirty="0"/>
              <a:t> </a:t>
            </a:r>
            <a:r>
              <a:rPr lang="en-US" dirty="0" err="1"/>
              <a:t>diejenigen</a:t>
            </a:r>
            <a:r>
              <a:rPr lang="en-US" dirty="0"/>
              <a:t> </a:t>
            </a:r>
            <a:r>
              <a:rPr lang="en-US" dirty="0" err="1"/>
              <a:t>ein</a:t>
            </a:r>
            <a:r>
              <a:rPr lang="en-US" dirty="0"/>
              <a:t>, die Bayer in </a:t>
            </a:r>
            <a:r>
              <a:rPr lang="en-US" dirty="0" err="1"/>
              <a:t>veröffentlichten</a:t>
            </a:r>
            <a:r>
              <a:rPr lang="en-US" dirty="0"/>
              <a:t> </a:t>
            </a:r>
            <a:r>
              <a:rPr lang="en-US" dirty="0" err="1"/>
              <a:t>Berichten</a:t>
            </a:r>
            <a:r>
              <a:rPr lang="en-US" dirty="0"/>
              <a:t> </a:t>
            </a:r>
            <a:r>
              <a:rPr lang="en-US" dirty="0" err="1"/>
              <a:t>beschrieben</a:t>
            </a:r>
            <a:r>
              <a:rPr lang="en-US" dirty="0"/>
              <a:t> hat. </a:t>
            </a:r>
            <a:r>
              <a:rPr lang="en-US" dirty="0" err="1"/>
              <a:t>Diese</a:t>
            </a:r>
            <a:r>
              <a:rPr lang="en-US" dirty="0"/>
              <a:t> </a:t>
            </a:r>
            <a:r>
              <a:rPr lang="en-US" dirty="0" err="1"/>
              <a:t>Berichte</a:t>
            </a:r>
            <a:r>
              <a:rPr lang="en-US" dirty="0"/>
              <a:t> </a:t>
            </a:r>
            <a:r>
              <a:rPr lang="en-US" dirty="0" err="1"/>
              <a:t>stehen</a:t>
            </a:r>
            <a:r>
              <a:rPr lang="en-US" dirty="0"/>
              <a:t> auf der Bayer-</a:t>
            </a:r>
            <a:r>
              <a:rPr lang="en-US" dirty="0" err="1"/>
              <a:t>Webseite</a:t>
            </a:r>
            <a:r>
              <a:rPr lang="en-US" dirty="0"/>
              <a:t> www.bayer.de/ </a:t>
            </a:r>
            <a:r>
              <a:rPr lang="en-US" dirty="0" err="1"/>
              <a:t>zur</a:t>
            </a:r>
            <a:r>
              <a:rPr lang="en-US" dirty="0"/>
              <a:t> </a:t>
            </a:r>
            <a:r>
              <a:rPr lang="en-US" dirty="0" err="1"/>
              <a:t>Verfügung</a:t>
            </a:r>
            <a:r>
              <a:rPr lang="en-US" dirty="0"/>
              <a:t>. </a:t>
            </a:r>
          </a:p>
          <a:p>
            <a:r>
              <a:rPr lang="en-US" dirty="0"/>
              <a:t>Die </a:t>
            </a:r>
            <a:r>
              <a:rPr lang="en-US" dirty="0" err="1"/>
              <a:t>Gesellschaft</a:t>
            </a:r>
            <a:r>
              <a:rPr lang="en-US" dirty="0"/>
              <a:t> </a:t>
            </a:r>
            <a:r>
              <a:rPr lang="en-US" dirty="0" err="1"/>
              <a:t>übernimmt</a:t>
            </a:r>
            <a:r>
              <a:rPr lang="en-US" dirty="0"/>
              <a:t> </a:t>
            </a:r>
            <a:r>
              <a:rPr lang="en-US" dirty="0" err="1"/>
              <a:t>keinerlei</a:t>
            </a:r>
            <a:r>
              <a:rPr lang="en-US" dirty="0"/>
              <a:t> </a:t>
            </a:r>
            <a:r>
              <a:rPr lang="en-US" dirty="0" err="1"/>
              <a:t>Verpflichtung</a:t>
            </a:r>
            <a:r>
              <a:rPr lang="en-US" dirty="0"/>
              <a:t>, </a:t>
            </a:r>
            <a:r>
              <a:rPr lang="en-US" dirty="0" err="1"/>
              <a:t>solche</a:t>
            </a:r>
            <a:r>
              <a:rPr lang="en-US" dirty="0"/>
              <a:t> </a:t>
            </a:r>
            <a:r>
              <a:rPr lang="en-US" dirty="0" err="1"/>
              <a:t>zukunftsgerichteten</a:t>
            </a:r>
            <a:r>
              <a:rPr lang="en-US" dirty="0"/>
              <a:t> </a:t>
            </a:r>
            <a:r>
              <a:rPr lang="en-US" dirty="0" err="1"/>
              <a:t>Aussagen</a:t>
            </a:r>
            <a:r>
              <a:rPr lang="en-US" dirty="0"/>
              <a:t> </a:t>
            </a:r>
            <a:r>
              <a:rPr lang="en-US" dirty="0" err="1"/>
              <a:t>fortzuschreiben</a:t>
            </a:r>
            <a:r>
              <a:rPr lang="en-US" dirty="0"/>
              <a:t> und an </a:t>
            </a:r>
            <a:r>
              <a:rPr lang="en-US" dirty="0" err="1"/>
              <a:t>zukünftige</a:t>
            </a:r>
            <a:r>
              <a:rPr lang="en-US" dirty="0"/>
              <a:t> </a:t>
            </a:r>
            <a:r>
              <a:rPr lang="en-US" dirty="0" err="1"/>
              <a:t>Ereignisse</a:t>
            </a:r>
            <a:r>
              <a:rPr lang="en-US" dirty="0"/>
              <a:t> </a:t>
            </a:r>
            <a:r>
              <a:rPr lang="en-US" dirty="0" err="1"/>
              <a:t>oder</a:t>
            </a:r>
            <a:r>
              <a:rPr lang="en-US" dirty="0"/>
              <a:t> </a:t>
            </a:r>
            <a:r>
              <a:rPr lang="en-US" dirty="0" err="1"/>
              <a:t>Entwicklungen</a:t>
            </a:r>
            <a:r>
              <a:rPr lang="en-US" dirty="0"/>
              <a:t> </a:t>
            </a:r>
            <a:r>
              <a:rPr lang="en-US" dirty="0" err="1"/>
              <a:t>anzupassen</a:t>
            </a:r>
            <a:r>
              <a:rPr lang="en-US" dirty="0"/>
              <a:t>.</a:t>
            </a:r>
          </a:p>
          <a:p>
            <a:endParaRPr lang="en-US" dirty="0"/>
          </a:p>
        </p:txBody>
      </p:sp>
      <p:sp>
        <p:nvSpPr>
          <p:cNvPr id="15" name="Fußzeilenplatzhalter 14"/>
          <p:cNvSpPr>
            <a:spLocks noGrp="1"/>
          </p:cNvSpPr>
          <p:nvPr>
            <p:ph type="ftr" sz="quarter" idx="11"/>
          </p:nvPr>
        </p:nvSpPr>
        <p:spPr/>
        <p:txBody>
          <a:bodyPr/>
          <a:lstStyle/>
          <a:p>
            <a:r>
              <a:rPr lang="en-US"/>
              <a:t>/// Bayer 16:9 Template /// September 2018</a:t>
            </a:r>
            <a:endParaRPr lang="en-US" dirty="0"/>
          </a:p>
        </p:txBody>
      </p:sp>
      <p:sp>
        <p:nvSpPr>
          <p:cNvPr id="16" name="Foliennummernplatzhalter 15"/>
          <p:cNvSpPr>
            <a:spLocks noGrp="1"/>
          </p:cNvSpPr>
          <p:nvPr>
            <p:ph type="sldNum" sz="quarter" idx="12"/>
          </p:nvPr>
        </p:nvSpPr>
        <p:spPr/>
        <p:txBody>
          <a:bodyPr/>
          <a:lstStyle/>
          <a:p>
            <a:fld id="{EEAD9179-7A6B-4268-BEB2-F3B8EB06115B}" type="slidenum">
              <a:rPr lang="en-US" smtClean="0"/>
              <a:t>20</a:t>
            </a:fld>
            <a:endParaRPr lang="en-US" dirty="0"/>
          </a:p>
        </p:txBody>
      </p:sp>
    </p:spTree>
    <p:extLst>
      <p:ext uri="{BB962C8B-B14F-4D97-AF65-F5344CB8AC3E}">
        <p14:creationId xmlns:p14="http://schemas.microsoft.com/office/powerpoint/2010/main" val="1991094645"/>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a:t>Forward-Looking Statements</a:t>
            </a:r>
            <a:endParaRPr lang="en-US" dirty="0"/>
          </a:p>
        </p:txBody>
      </p:sp>
      <p:sp>
        <p:nvSpPr>
          <p:cNvPr id="13" name="Inhaltsplatzhalter 12"/>
          <p:cNvSpPr>
            <a:spLocks noGrp="1"/>
          </p:cNvSpPr>
          <p:nvPr>
            <p:ph sz="quarter" idx="14"/>
          </p:nvPr>
        </p:nvSpPr>
        <p:spPr/>
        <p:txBody>
          <a:bodyPr/>
          <a:lstStyle/>
          <a:p>
            <a:r>
              <a:rPr lang="en-US" dirty="0"/>
              <a:t>This website/release/presentation may contain forward-looking statements based on current assumptions and forecasts made by Bayer management. </a:t>
            </a:r>
          </a:p>
          <a:p>
            <a:r>
              <a:rPr lang="en-US" dirty="0"/>
              <a:t>Various known and unknown risks, uncertainties and other factors could lead to material differences between the actual future results, financial situation, development or performance of the company and the estimates given here. These factors include those discussed in Bayer’s public reports which are available on the Bayer website at http://www.bayer.com/. </a:t>
            </a:r>
          </a:p>
          <a:p>
            <a:r>
              <a:rPr lang="en-US" dirty="0"/>
              <a:t>The company assumes no liability whatsoever to update these forward-looking statements or to conform them to future events or developments.</a:t>
            </a:r>
          </a:p>
          <a:p>
            <a:endParaRPr lang="en-US" dirty="0"/>
          </a:p>
        </p:txBody>
      </p:sp>
      <p:sp>
        <p:nvSpPr>
          <p:cNvPr id="15" name="Fußzeilenplatzhalter 14"/>
          <p:cNvSpPr>
            <a:spLocks noGrp="1"/>
          </p:cNvSpPr>
          <p:nvPr>
            <p:ph type="ftr" sz="quarter" idx="11"/>
          </p:nvPr>
        </p:nvSpPr>
        <p:spPr/>
        <p:txBody>
          <a:bodyPr/>
          <a:lstStyle/>
          <a:p>
            <a:r>
              <a:rPr lang="en-US"/>
              <a:t>/// Bayer 16:9 Template /// September 2018</a:t>
            </a:r>
            <a:endParaRPr lang="en-US" dirty="0"/>
          </a:p>
        </p:txBody>
      </p:sp>
      <p:sp>
        <p:nvSpPr>
          <p:cNvPr id="16" name="Foliennummernplatzhalter 15"/>
          <p:cNvSpPr>
            <a:spLocks noGrp="1"/>
          </p:cNvSpPr>
          <p:nvPr>
            <p:ph type="sldNum" sz="quarter" idx="12"/>
          </p:nvPr>
        </p:nvSpPr>
        <p:spPr/>
        <p:txBody>
          <a:bodyPr/>
          <a:lstStyle/>
          <a:p>
            <a:fld id="{EEAD9179-7A6B-4268-BEB2-F3B8EB06115B}" type="slidenum">
              <a:rPr lang="en-US" smtClean="0"/>
              <a:t>21</a:t>
            </a:fld>
            <a:endParaRPr lang="en-US" dirty="0"/>
          </a:p>
        </p:txBody>
      </p:sp>
    </p:spTree>
    <p:extLst>
      <p:ext uri="{BB962C8B-B14F-4D97-AF65-F5344CB8AC3E}">
        <p14:creationId xmlns:p14="http://schemas.microsoft.com/office/powerpoint/2010/main" val="242146745"/>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Untertitel 13"/>
          <p:cNvSpPr>
            <a:spLocks noGrp="1"/>
          </p:cNvSpPr>
          <p:nvPr>
            <p:ph type="subTitle" idx="1"/>
          </p:nvPr>
        </p:nvSpPr>
        <p:spPr/>
        <p:txBody>
          <a:bodyPr/>
          <a:lstStyle/>
          <a:p>
            <a:endParaRPr lang="en-US"/>
          </a:p>
        </p:txBody>
      </p:sp>
      <p:sp>
        <p:nvSpPr>
          <p:cNvPr id="5" name="Title 4"/>
          <p:cNvSpPr>
            <a:spLocks noGrp="1"/>
          </p:cNvSpPr>
          <p:nvPr>
            <p:ph type="ctrTitle"/>
          </p:nvPr>
        </p:nvSpPr>
        <p:spPr/>
        <p:txBody>
          <a:bodyPr/>
          <a:lstStyle/>
          <a:p>
            <a:r>
              <a:rPr lang="en-US"/>
              <a:t>Thank you!</a:t>
            </a:r>
            <a:endParaRPr lang="en-US" dirty="0"/>
          </a:p>
        </p:txBody>
      </p:sp>
      <p:sp>
        <p:nvSpPr>
          <p:cNvPr id="7" name="Text Placeholder 6"/>
          <p:cNvSpPr>
            <a:spLocks noGrp="1"/>
          </p:cNvSpPr>
          <p:nvPr>
            <p:ph type="body" sz="quarter" idx="13"/>
          </p:nvPr>
        </p:nvSpPr>
        <p:spPr/>
        <p:txBody>
          <a:bodyPr/>
          <a:lstStyle/>
          <a:p>
            <a:r>
              <a:rPr lang="en-US"/>
              <a:t>Bye-Bye</a:t>
            </a:r>
            <a:endParaRPr lang="en-US" dirty="0"/>
          </a:p>
        </p:txBody>
      </p:sp>
      <p:pic>
        <p:nvPicPr>
          <p:cNvPr id="10" name="Picture Placeholder 9"/>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5007" r="25007"/>
          <a:stretch>
            <a:fillRect/>
          </a:stretch>
        </p:blipFill>
        <p:spPr/>
      </p:pic>
      <p:sp>
        <p:nvSpPr>
          <p:cNvPr id="16" name="Fußzeilenplatzhalter 15"/>
          <p:cNvSpPr>
            <a:spLocks noGrp="1"/>
          </p:cNvSpPr>
          <p:nvPr>
            <p:ph type="ftr" sz="quarter" idx="11"/>
          </p:nvPr>
        </p:nvSpPr>
        <p:spPr/>
        <p:txBody>
          <a:bodyPr/>
          <a:lstStyle/>
          <a:p>
            <a:r>
              <a:rPr lang="en-US"/>
              <a:t>/// Bayer 16:9 Template /// September 2018</a:t>
            </a:r>
            <a:endParaRPr lang="en-US" dirty="0"/>
          </a:p>
        </p:txBody>
      </p:sp>
      <p:sp>
        <p:nvSpPr>
          <p:cNvPr id="17" name="Foliennummernplatzhalter 16"/>
          <p:cNvSpPr>
            <a:spLocks noGrp="1"/>
          </p:cNvSpPr>
          <p:nvPr>
            <p:ph type="sldNum" sz="quarter" idx="12"/>
          </p:nvPr>
        </p:nvSpPr>
        <p:spPr/>
        <p:txBody>
          <a:bodyPr/>
          <a:lstStyle/>
          <a:p>
            <a:fld id="{EEAD9179-7A6B-4268-BEB2-F3B8EB06115B}" type="slidenum">
              <a:rPr lang="en-US" smtClean="0"/>
              <a:pPr/>
              <a:t>22</a:t>
            </a:fld>
            <a:endParaRPr lang="en-US" dirty="0"/>
          </a:p>
        </p:txBody>
      </p:sp>
    </p:spTree>
    <p:extLst>
      <p:ext uri="{BB962C8B-B14F-4D97-AF65-F5344CB8AC3E}">
        <p14:creationId xmlns:p14="http://schemas.microsoft.com/office/powerpoint/2010/main" val="968557148"/>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Untertitel 13"/>
          <p:cNvSpPr>
            <a:spLocks noGrp="1"/>
          </p:cNvSpPr>
          <p:nvPr>
            <p:ph type="subTitle" idx="1"/>
          </p:nvPr>
        </p:nvSpPr>
        <p:spPr/>
        <p:txBody>
          <a:bodyPr/>
          <a:lstStyle/>
          <a:p>
            <a:endParaRPr lang="en-US"/>
          </a:p>
        </p:txBody>
      </p:sp>
      <p:sp>
        <p:nvSpPr>
          <p:cNvPr id="5" name="Title 4"/>
          <p:cNvSpPr>
            <a:spLocks noGrp="1"/>
          </p:cNvSpPr>
          <p:nvPr>
            <p:ph type="ctrTitle"/>
          </p:nvPr>
        </p:nvSpPr>
        <p:spPr/>
        <p:txBody>
          <a:bodyPr/>
          <a:lstStyle/>
          <a:p>
            <a:r>
              <a:rPr lang="en-US"/>
              <a:t>Thank you!</a:t>
            </a:r>
            <a:endParaRPr lang="en-US" dirty="0"/>
          </a:p>
        </p:txBody>
      </p:sp>
      <p:sp>
        <p:nvSpPr>
          <p:cNvPr id="7" name="Text Placeholder 6"/>
          <p:cNvSpPr>
            <a:spLocks noGrp="1"/>
          </p:cNvSpPr>
          <p:nvPr>
            <p:ph type="body" sz="quarter" idx="13"/>
          </p:nvPr>
        </p:nvSpPr>
        <p:spPr/>
        <p:txBody>
          <a:bodyPr/>
          <a:lstStyle/>
          <a:p>
            <a:r>
              <a:rPr lang="en-US"/>
              <a:t>Bye-Bye</a:t>
            </a:r>
            <a:endParaRPr lang="en-US" dirty="0"/>
          </a:p>
        </p:txBody>
      </p:sp>
      <p:pic>
        <p:nvPicPr>
          <p:cNvPr id="11" name="Picture Placeholder 9"/>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5007" r="25007"/>
          <a:stretch>
            <a:fillRect/>
          </a:stretch>
        </p:blipFill>
        <p:spPr/>
      </p:pic>
      <p:sp>
        <p:nvSpPr>
          <p:cNvPr id="16" name="Fußzeilenplatzhalter 15"/>
          <p:cNvSpPr>
            <a:spLocks noGrp="1"/>
          </p:cNvSpPr>
          <p:nvPr>
            <p:ph type="ftr" sz="quarter" idx="11"/>
          </p:nvPr>
        </p:nvSpPr>
        <p:spPr/>
        <p:txBody>
          <a:bodyPr/>
          <a:lstStyle/>
          <a:p>
            <a:r>
              <a:rPr lang="en-US"/>
              <a:t>/// Bayer 16:9 Template /// September 2018</a:t>
            </a:r>
            <a:endParaRPr lang="en-US" dirty="0"/>
          </a:p>
        </p:txBody>
      </p:sp>
      <p:sp>
        <p:nvSpPr>
          <p:cNvPr id="17" name="Foliennummernplatzhalter 16"/>
          <p:cNvSpPr>
            <a:spLocks noGrp="1"/>
          </p:cNvSpPr>
          <p:nvPr>
            <p:ph type="sldNum" sz="quarter" idx="12"/>
          </p:nvPr>
        </p:nvSpPr>
        <p:spPr/>
        <p:txBody>
          <a:bodyPr/>
          <a:lstStyle/>
          <a:p>
            <a:fld id="{EEAD9179-7A6B-4268-BEB2-F3B8EB06115B}" type="slidenum">
              <a:rPr lang="en-US" smtClean="0"/>
              <a:pPr/>
              <a:t>23</a:t>
            </a:fld>
            <a:endParaRPr lang="en-US" dirty="0"/>
          </a:p>
        </p:txBody>
      </p:sp>
    </p:spTree>
    <p:extLst>
      <p:ext uri="{BB962C8B-B14F-4D97-AF65-F5344CB8AC3E}">
        <p14:creationId xmlns:p14="http://schemas.microsoft.com/office/powerpoint/2010/main" val="3504956388"/>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Untertitel 13"/>
          <p:cNvSpPr>
            <a:spLocks noGrp="1"/>
          </p:cNvSpPr>
          <p:nvPr>
            <p:ph type="subTitle" idx="1"/>
          </p:nvPr>
        </p:nvSpPr>
        <p:spPr/>
        <p:txBody>
          <a:bodyPr/>
          <a:lstStyle/>
          <a:p>
            <a:endParaRPr lang="en-US"/>
          </a:p>
        </p:txBody>
      </p:sp>
      <p:sp>
        <p:nvSpPr>
          <p:cNvPr id="5" name="Title 4"/>
          <p:cNvSpPr>
            <a:spLocks noGrp="1"/>
          </p:cNvSpPr>
          <p:nvPr>
            <p:ph type="ctrTitle"/>
          </p:nvPr>
        </p:nvSpPr>
        <p:spPr/>
        <p:txBody>
          <a:bodyPr/>
          <a:lstStyle/>
          <a:p>
            <a:r>
              <a:rPr lang="en-US"/>
              <a:t>Thank you!</a:t>
            </a:r>
            <a:endParaRPr lang="en-US" dirty="0"/>
          </a:p>
        </p:txBody>
      </p:sp>
      <p:sp>
        <p:nvSpPr>
          <p:cNvPr id="7" name="Text Placeholder 6"/>
          <p:cNvSpPr>
            <a:spLocks noGrp="1"/>
          </p:cNvSpPr>
          <p:nvPr>
            <p:ph type="body" sz="quarter" idx="13"/>
          </p:nvPr>
        </p:nvSpPr>
        <p:spPr/>
        <p:txBody>
          <a:bodyPr/>
          <a:lstStyle/>
          <a:p>
            <a:r>
              <a:rPr lang="en-US"/>
              <a:t>Bye-Bye</a:t>
            </a:r>
            <a:endParaRPr lang="en-US" dirty="0"/>
          </a:p>
        </p:txBody>
      </p:sp>
      <p:pic>
        <p:nvPicPr>
          <p:cNvPr id="10" name="Picture Placeholder 9"/>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5007" r="25007"/>
          <a:stretch>
            <a:fillRect/>
          </a:stretch>
        </p:blipFill>
        <p:spPr/>
      </p:pic>
      <p:sp>
        <p:nvSpPr>
          <p:cNvPr id="16" name="Fußzeilenplatzhalter 15"/>
          <p:cNvSpPr>
            <a:spLocks noGrp="1"/>
          </p:cNvSpPr>
          <p:nvPr>
            <p:ph type="ftr" sz="quarter" idx="11"/>
          </p:nvPr>
        </p:nvSpPr>
        <p:spPr/>
        <p:txBody>
          <a:bodyPr/>
          <a:lstStyle/>
          <a:p>
            <a:r>
              <a:rPr lang="en-US"/>
              <a:t>/// Bayer 16:9 Template /// September 2018</a:t>
            </a:r>
            <a:endParaRPr lang="en-US" dirty="0"/>
          </a:p>
        </p:txBody>
      </p:sp>
      <p:sp>
        <p:nvSpPr>
          <p:cNvPr id="17" name="Foliennummernplatzhalter 16"/>
          <p:cNvSpPr>
            <a:spLocks noGrp="1"/>
          </p:cNvSpPr>
          <p:nvPr>
            <p:ph type="sldNum" sz="quarter" idx="12"/>
          </p:nvPr>
        </p:nvSpPr>
        <p:spPr/>
        <p:txBody>
          <a:bodyPr/>
          <a:lstStyle/>
          <a:p>
            <a:fld id="{EEAD9179-7A6B-4268-BEB2-F3B8EB06115B}" type="slidenum">
              <a:rPr lang="en-US" smtClean="0"/>
              <a:pPr/>
              <a:t>24</a:t>
            </a:fld>
            <a:endParaRPr lang="en-US" dirty="0"/>
          </a:p>
        </p:txBody>
      </p:sp>
    </p:spTree>
    <p:extLst>
      <p:ext uri="{BB962C8B-B14F-4D97-AF65-F5344CB8AC3E}">
        <p14:creationId xmlns:p14="http://schemas.microsoft.com/office/powerpoint/2010/main" val="2009696112"/>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a:t>Subheadline</a:t>
            </a:r>
            <a:endParaRPr lang="en-US" dirty="0"/>
          </a:p>
        </p:txBody>
      </p:sp>
      <p:sp>
        <p:nvSpPr>
          <p:cNvPr id="2" name="Title 1"/>
          <p:cNvSpPr>
            <a:spLocks noGrp="1"/>
          </p:cNvSpPr>
          <p:nvPr>
            <p:ph type="title"/>
          </p:nvPr>
        </p:nvSpPr>
        <p:spPr/>
        <p:txBody>
          <a:bodyPr/>
          <a:lstStyle/>
          <a:p>
            <a:r>
              <a:rPr lang="en-US"/>
              <a:t>Headline</a:t>
            </a:r>
            <a:endParaRPr lang="en-US" dirty="0"/>
          </a:p>
        </p:txBody>
      </p:sp>
      <p:graphicFrame>
        <p:nvGraphicFramePr>
          <p:cNvPr id="8" name="Table 3"/>
          <p:cNvGraphicFramePr>
            <a:graphicFrameLocks/>
          </p:cNvGraphicFramePr>
          <p:nvPr>
            <p:extLst>
              <p:ext uri="{D42A27DB-BD31-4B8C-83A1-F6EECF244321}">
                <p14:modId xmlns:p14="http://schemas.microsoft.com/office/powerpoint/2010/main" val="474691923"/>
              </p:ext>
            </p:extLst>
          </p:nvPr>
        </p:nvGraphicFramePr>
        <p:xfrm>
          <a:off x="982663" y="1735138"/>
          <a:ext cx="10797620" cy="1843799"/>
        </p:xfrm>
        <a:graphic>
          <a:graphicData uri="http://schemas.openxmlformats.org/drawingml/2006/table">
            <a:tbl>
              <a:tblPr bandRow="1">
                <a:tableStyleId>{5C22544A-7EE6-4342-B048-85BDC9FD1C3A}</a:tableStyleId>
              </a:tblPr>
              <a:tblGrid>
                <a:gridCol w="1079762">
                  <a:extLst>
                    <a:ext uri="{9D8B030D-6E8A-4147-A177-3AD203B41FA5}">
                      <a16:colId xmlns:a16="http://schemas.microsoft.com/office/drawing/2014/main" val="20000"/>
                    </a:ext>
                  </a:extLst>
                </a:gridCol>
                <a:gridCol w="1079762">
                  <a:extLst>
                    <a:ext uri="{9D8B030D-6E8A-4147-A177-3AD203B41FA5}">
                      <a16:colId xmlns:a16="http://schemas.microsoft.com/office/drawing/2014/main" val="20001"/>
                    </a:ext>
                  </a:extLst>
                </a:gridCol>
                <a:gridCol w="1079762">
                  <a:extLst>
                    <a:ext uri="{9D8B030D-6E8A-4147-A177-3AD203B41FA5}">
                      <a16:colId xmlns:a16="http://schemas.microsoft.com/office/drawing/2014/main" val="20002"/>
                    </a:ext>
                  </a:extLst>
                </a:gridCol>
                <a:gridCol w="1079762">
                  <a:extLst>
                    <a:ext uri="{9D8B030D-6E8A-4147-A177-3AD203B41FA5}">
                      <a16:colId xmlns:a16="http://schemas.microsoft.com/office/drawing/2014/main" val="20003"/>
                    </a:ext>
                  </a:extLst>
                </a:gridCol>
                <a:gridCol w="1079762">
                  <a:extLst>
                    <a:ext uri="{9D8B030D-6E8A-4147-A177-3AD203B41FA5}">
                      <a16:colId xmlns:a16="http://schemas.microsoft.com/office/drawing/2014/main" val="20004"/>
                    </a:ext>
                  </a:extLst>
                </a:gridCol>
                <a:gridCol w="1079762">
                  <a:extLst>
                    <a:ext uri="{9D8B030D-6E8A-4147-A177-3AD203B41FA5}">
                      <a16:colId xmlns:a16="http://schemas.microsoft.com/office/drawing/2014/main" val="20005"/>
                    </a:ext>
                  </a:extLst>
                </a:gridCol>
                <a:gridCol w="1079762">
                  <a:extLst>
                    <a:ext uri="{9D8B030D-6E8A-4147-A177-3AD203B41FA5}">
                      <a16:colId xmlns:a16="http://schemas.microsoft.com/office/drawing/2014/main" val="20006"/>
                    </a:ext>
                  </a:extLst>
                </a:gridCol>
                <a:gridCol w="1079762">
                  <a:extLst>
                    <a:ext uri="{9D8B030D-6E8A-4147-A177-3AD203B41FA5}">
                      <a16:colId xmlns:a16="http://schemas.microsoft.com/office/drawing/2014/main" val="20007"/>
                    </a:ext>
                  </a:extLst>
                </a:gridCol>
                <a:gridCol w="1079762">
                  <a:extLst>
                    <a:ext uri="{9D8B030D-6E8A-4147-A177-3AD203B41FA5}">
                      <a16:colId xmlns:a16="http://schemas.microsoft.com/office/drawing/2014/main" val="20008"/>
                    </a:ext>
                  </a:extLst>
                </a:gridCol>
                <a:gridCol w="1079762">
                  <a:extLst>
                    <a:ext uri="{9D8B030D-6E8A-4147-A177-3AD203B41FA5}">
                      <a16:colId xmlns:a16="http://schemas.microsoft.com/office/drawing/2014/main" val="20009"/>
                    </a:ext>
                  </a:extLst>
                </a:gridCol>
              </a:tblGrid>
              <a:tr h="258138">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kumimoji="0" lang="en-US" sz="1000" b="0" u="none" strike="noStrike" kern="1200" cap="none" spc="0" normalizeH="0" baseline="0" noProof="0" dirty="0">
                          <a:ln>
                            <a:noFill/>
                          </a:ln>
                          <a:solidFill>
                            <a:schemeClr val="tx1"/>
                          </a:solidFill>
                          <a:effectLst/>
                          <a:uLnTx/>
                          <a:uFillTx/>
                          <a:latin typeface="+mn-lt"/>
                          <a:cs typeface="Segoe UI" pitchFamily="34" charset="0"/>
                        </a:rPr>
                        <a:t>Colors</a:t>
                      </a:r>
                      <a:endParaRPr lang="en-US" sz="1000" b="0" i="1" u="none" noProof="0" dirty="0">
                        <a:solidFill>
                          <a:schemeClr val="tx1"/>
                        </a:solidFill>
                        <a:latin typeface="+mn-lt"/>
                        <a:cs typeface="Segoe UI" pitchFamily="34" charset="0"/>
                      </a:endParaRPr>
                    </a:p>
                  </a:txBody>
                  <a:tcPr marL="72000"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168887">
                <a:tc>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800" b="0" i="0" u="none" noProof="0" dirty="0">
                          <a:solidFill>
                            <a:schemeClr val="tx1"/>
                          </a:solidFill>
                          <a:latin typeface="+mn-lt"/>
                          <a:cs typeface="+mn-cs"/>
                        </a:rPr>
                        <a:t>Background 1</a:t>
                      </a:r>
                      <a:endParaRPr lang="en-GB" sz="800" b="0" i="0" u="none" noProof="0" dirty="0">
                        <a:solidFill>
                          <a:schemeClr val="tx1"/>
                        </a:solidFill>
                        <a:latin typeface="+mn-lt"/>
                        <a:cs typeface="Segoe UI" pitchFamily="34" charset="0"/>
                      </a:endParaRPr>
                    </a:p>
                  </a:txBody>
                  <a:tcPr marL="72000"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3E3E3"/>
                    </a:solidFill>
                  </a:tcPr>
                </a:tc>
                <a:tc>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800" b="0" i="0" u="none" noProof="0" dirty="0">
                          <a:solidFill>
                            <a:schemeClr val="tx1"/>
                          </a:solidFill>
                          <a:latin typeface="+mn-lt"/>
                          <a:cs typeface="Segoe UI" pitchFamily="34" charset="0"/>
                        </a:rPr>
                        <a:t>Text 1</a:t>
                      </a:r>
                    </a:p>
                  </a:txBody>
                  <a:tcPr marL="72000" marR="108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3E3E3"/>
                    </a:solidFill>
                  </a:tcPr>
                </a:tc>
                <a:tc>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800" b="0" i="0" u="none" noProof="0" dirty="0">
                          <a:solidFill>
                            <a:schemeClr val="tx1"/>
                          </a:solidFill>
                          <a:latin typeface="+mn-lt"/>
                          <a:cs typeface="+mn-cs"/>
                        </a:rPr>
                        <a:t>Background 2</a:t>
                      </a:r>
                      <a:endParaRPr lang="en-GB" sz="800" b="0" i="0" u="none" noProof="0" dirty="0">
                        <a:solidFill>
                          <a:schemeClr val="tx1"/>
                        </a:solidFill>
                        <a:latin typeface="+mn-lt"/>
                        <a:cs typeface="Segoe UI" pitchFamily="34" charset="0"/>
                      </a:endParaRPr>
                    </a:p>
                  </a:txBody>
                  <a:tcPr marL="72000" marR="108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3E3E3"/>
                    </a:solidFill>
                  </a:tcPr>
                </a:tc>
                <a:tc>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800" b="0" i="0" u="none" noProof="0" dirty="0">
                          <a:solidFill>
                            <a:schemeClr val="tx1"/>
                          </a:solidFill>
                          <a:latin typeface="+mn-lt"/>
                          <a:cs typeface="Segoe UI" pitchFamily="34" charset="0"/>
                        </a:rPr>
                        <a:t>Text 2</a:t>
                      </a:r>
                    </a:p>
                  </a:txBody>
                  <a:tcPr marL="72000" marR="108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3E3E3"/>
                    </a:solidFill>
                  </a:tcPr>
                </a:tc>
                <a:tc>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800" b="0" i="0" u="none" noProof="0" dirty="0">
                          <a:solidFill>
                            <a:schemeClr val="tx1"/>
                          </a:solidFill>
                          <a:latin typeface="+mn-lt"/>
                        </a:rPr>
                        <a:t>Accent </a:t>
                      </a:r>
                      <a:r>
                        <a:rPr lang="en-GB" sz="800" b="0" i="0" u="none" noProof="0" dirty="0">
                          <a:solidFill>
                            <a:schemeClr val="tx1"/>
                          </a:solidFill>
                          <a:latin typeface="+mn-lt"/>
                          <a:cs typeface="Segoe UI" pitchFamily="34" charset="0"/>
                        </a:rPr>
                        <a:t>1</a:t>
                      </a:r>
                    </a:p>
                  </a:txBody>
                  <a:tcPr marL="72000" marR="108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6C6C6"/>
                    </a:solidFill>
                  </a:tcPr>
                </a:tc>
                <a:tc>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800" b="0" i="0" u="none" noProof="0" dirty="0">
                          <a:solidFill>
                            <a:schemeClr val="tx1"/>
                          </a:solidFill>
                          <a:latin typeface="+mn-lt"/>
                        </a:rPr>
                        <a:t>Accent </a:t>
                      </a:r>
                      <a:r>
                        <a:rPr lang="en-GB" sz="800" b="0" i="0" u="none" noProof="0" dirty="0">
                          <a:solidFill>
                            <a:schemeClr val="tx1"/>
                          </a:solidFill>
                          <a:latin typeface="+mn-lt"/>
                          <a:cs typeface="Segoe UI" pitchFamily="34" charset="0"/>
                        </a:rPr>
                        <a:t>2</a:t>
                      </a:r>
                    </a:p>
                  </a:txBody>
                  <a:tcPr marL="72000" marR="108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6C6C6"/>
                    </a:solidFill>
                  </a:tcPr>
                </a:tc>
                <a:tc>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800" b="0" i="0" u="none" noProof="0" dirty="0">
                          <a:solidFill>
                            <a:schemeClr val="tx1"/>
                          </a:solidFill>
                          <a:latin typeface="+mn-lt"/>
                        </a:rPr>
                        <a:t>Accent </a:t>
                      </a:r>
                      <a:r>
                        <a:rPr lang="en-GB" sz="800" b="0" i="0" u="none" noProof="0" dirty="0">
                          <a:solidFill>
                            <a:schemeClr val="tx1"/>
                          </a:solidFill>
                          <a:latin typeface="+mn-lt"/>
                          <a:cs typeface="Segoe UI" pitchFamily="34" charset="0"/>
                        </a:rPr>
                        <a:t>3</a:t>
                      </a:r>
                    </a:p>
                  </a:txBody>
                  <a:tcPr marL="72000" marR="108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6C6C6"/>
                    </a:solidFill>
                  </a:tcPr>
                </a:tc>
                <a:tc>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800" b="0" i="0" u="none" noProof="0" dirty="0">
                          <a:solidFill>
                            <a:schemeClr val="tx1"/>
                          </a:solidFill>
                          <a:latin typeface="+mn-lt"/>
                        </a:rPr>
                        <a:t>Accent </a:t>
                      </a:r>
                      <a:r>
                        <a:rPr lang="en-GB" sz="800" b="0" i="0" u="none" noProof="0" dirty="0">
                          <a:solidFill>
                            <a:schemeClr val="tx1"/>
                          </a:solidFill>
                          <a:latin typeface="+mn-lt"/>
                          <a:cs typeface="Segoe UI" pitchFamily="34" charset="0"/>
                        </a:rPr>
                        <a:t>4</a:t>
                      </a:r>
                    </a:p>
                  </a:txBody>
                  <a:tcPr marL="72000" marR="108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6C6C6"/>
                    </a:solidFill>
                  </a:tcPr>
                </a:tc>
                <a:tc>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800" b="0" i="0" u="none" noProof="0" dirty="0">
                          <a:solidFill>
                            <a:schemeClr val="tx1"/>
                          </a:solidFill>
                          <a:latin typeface="+mn-lt"/>
                        </a:rPr>
                        <a:t>Accent </a:t>
                      </a:r>
                      <a:r>
                        <a:rPr lang="en-GB" sz="800" b="0" i="0" u="none" noProof="0" dirty="0">
                          <a:solidFill>
                            <a:schemeClr val="tx1"/>
                          </a:solidFill>
                          <a:latin typeface="+mn-lt"/>
                          <a:cs typeface="Segoe UI" pitchFamily="34" charset="0"/>
                        </a:rPr>
                        <a:t>5</a:t>
                      </a:r>
                    </a:p>
                  </a:txBody>
                  <a:tcPr marL="72000" marR="108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6C6C6"/>
                    </a:solidFill>
                  </a:tcPr>
                </a:tc>
                <a:tc>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800" b="0" i="0" u="none" noProof="0" dirty="0">
                          <a:solidFill>
                            <a:schemeClr val="tx1"/>
                          </a:solidFill>
                          <a:latin typeface="+mn-lt"/>
                        </a:rPr>
                        <a:t>Accent </a:t>
                      </a:r>
                      <a:r>
                        <a:rPr lang="en-GB" sz="800" b="0" i="0" u="none" noProof="0" dirty="0">
                          <a:solidFill>
                            <a:schemeClr val="tx1"/>
                          </a:solidFill>
                          <a:latin typeface="+mn-lt"/>
                          <a:cs typeface="Segoe UI" pitchFamily="34" charset="0"/>
                        </a:rPr>
                        <a:t>6</a:t>
                      </a:r>
                    </a:p>
                  </a:txBody>
                  <a:tcPr marL="72000" marR="108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6C6C6"/>
                    </a:solidFill>
                  </a:tcPr>
                </a:tc>
                <a:extLst>
                  <a:ext uri="{0D108BD9-81ED-4DB2-BD59-A6C34878D82A}">
                    <a16:rowId xmlns:a16="http://schemas.microsoft.com/office/drawing/2014/main" val="10001"/>
                  </a:ext>
                </a:extLst>
              </a:tr>
              <a:tr h="816574">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36905">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255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255 G </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255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0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0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0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98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73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99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255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49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98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baseline="0" noProof="0" dirty="0">
                          <a:solidFill>
                            <a:schemeClr val="tx1"/>
                          </a:solidFill>
                          <a:latin typeface="+mn-lt"/>
                          <a:cs typeface="Segoe UI" pitchFamily="34" charset="0"/>
                        </a:rPr>
                        <a:t>16 </a:t>
                      </a:r>
                      <a:r>
                        <a:rPr lang="en-GB" sz="800" b="0" i="1" u="none" noProof="0" dirty="0">
                          <a:solidFill>
                            <a:schemeClr val="tx1"/>
                          </a:solidFill>
                          <a:latin typeface="+mn-lt"/>
                          <a:cs typeface="Segoe UI" pitchFamily="34" charset="0"/>
                        </a:rPr>
                        <a:t>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56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79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0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188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255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0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68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34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137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211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41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68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50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71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211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15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75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extLst>
                  <a:ext uri="{0D108BD9-81ED-4DB2-BD59-A6C34878D82A}">
                    <a16:rowId xmlns:a16="http://schemas.microsoft.com/office/drawing/2014/main" val="10003"/>
                  </a:ext>
                </a:extLst>
              </a:tr>
            </a:tbl>
          </a:graphicData>
        </a:graphic>
      </p:graphicFrame>
      <p:graphicFrame>
        <p:nvGraphicFramePr>
          <p:cNvPr id="9" name="Table 3"/>
          <p:cNvGraphicFramePr>
            <a:graphicFrameLocks/>
          </p:cNvGraphicFramePr>
          <p:nvPr>
            <p:extLst>
              <p:ext uri="{D42A27DB-BD31-4B8C-83A1-F6EECF244321}">
                <p14:modId xmlns:p14="http://schemas.microsoft.com/office/powerpoint/2010/main" val="666701519"/>
              </p:ext>
            </p:extLst>
          </p:nvPr>
        </p:nvGraphicFramePr>
        <p:xfrm>
          <a:off x="982663" y="3869613"/>
          <a:ext cx="10797618" cy="2198012"/>
        </p:xfrm>
        <a:graphic>
          <a:graphicData uri="http://schemas.openxmlformats.org/drawingml/2006/table">
            <a:tbl>
              <a:tblPr bandRow="1">
                <a:tableStyleId>{5C22544A-7EE6-4342-B048-85BDC9FD1C3A}</a:tableStyleId>
              </a:tblPr>
              <a:tblGrid>
                <a:gridCol w="1799603">
                  <a:extLst>
                    <a:ext uri="{9D8B030D-6E8A-4147-A177-3AD203B41FA5}">
                      <a16:colId xmlns:a16="http://schemas.microsoft.com/office/drawing/2014/main" val="20000"/>
                    </a:ext>
                  </a:extLst>
                </a:gridCol>
                <a:gridCol w="1799603">
                  <a:extLst>
                    <a:ext uri="{9D8B030D-6E8A-4147-A177-3AD203B41FA5}">
                      <a16:colId xmlns:a16="http://schemas.microsoft.com/office/drawing/2014/main" val="20001"/>
                    </a:ext>
                  </a:extLst>
                </a:gridCol>
                <a:gridCol w="1799603">
                  <a:extLst>
                    <a:ext uri="{9D8B030D-6E8A-4147-A177-3AD203B41FA5}">
                      <a16:colId xmlns:a16="http://schemas.microsoft.com/office/drawing/2014/main" val="20002"/>
                    </a:ext>
                  </a:extLst>
                </a:gridCol>
                <a:gridCol w="1799603">
                  <a:extLst>
                    <a:ext uri="{9D8B030D-6E8A-4147-A177-3AD203B41FA5}">
                      <a16:colId xmlns:a16="http://schemas.microsoft.com/office/drawing/2014/main" val="20003"/>
                    </a:ext>
                  </a:extLst>
                </a:gridCol>
                <a:gridCol w="1799603">
                  <a:extLst>
                    <a:ext uri="{9D8B030D-6E8A-4147-A177-3AD203B41FA5}">
                      <a16:colId xmlns:a16="http://schemas.microsoft.com/office/drawing/2014/main" val="20004"/>
                    </a:ext>
                  </a:extLst>
                </a:gridCol>
                <a:gridCol w="1799603">
                  <a:extLst>
                    <a:ext uri="{9D8B030D-6E8A-4147-A177-3AD203B41FA5}">
                      <a16:colId xmlns:a16="http://schemas.microsoft.com/office/drawing/2014/main" val="20005"/>
                    </a:ext>
                  </a:extLst>
                </a:gridCol>
              </a:tblGrid>
              <a:tr h="270371">
                <a:tc gridSpan="3">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kumimoji="0" lang="en-GB" sz="1000" b="0" u="none" strike="noStrike" kern="1200" cap="none" spc="0" normalizeH="0" baseline="0" noProof="0" dirty="0">
                          <a:ln>
                            <a:noFill/>
                          </a:ln>
                          <a:solidFill>
                            <a:schemeClr val="tx1"/>
                          </a:solidFill>
                          <a:effectLst/>
                          <a:uLnTx/>
                          <a:uFillTx/>
                          <a:latin typeface="+mn-lt"/>
                        </a:rPr>
                        <a:t>Standard shapes </a:t>
                      </a:r>
                    </a:p>
                  </a:txBody>
                  <a:tcPr marL="72000"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1000" b="0" i="1" u="none" dirty="0">
                        <a:solidFill>
                          <a:schemeClr val="tx1"/>
                        </a:solidFill>
                        <a:latin typeface="Arial" pitchFamily="34" charset="0"/>
                        <a:cs typeface="Arial" pitchFamily="34" charset="0"/>
                      </a:endParaRPr>
                    </a:p>
                  </a:txBody>
                  <a:tcPr marL="72000"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1000" b="0" i="0" u="none" noProof="0" dirty="0">
                          <a:solidFill>
                            <a:schemeClr val="tx1"/>
                          </a:solidFill>
                          <a:latin typeface="+mn-lt"/>
                        </a:rPr>
                        <a:t>Charts</a:t>
                      </a:r>
                      <a:endParaRPr lang="en-GB" sz="1000" b="0" i="0" u="none" noProof="0" dirty="0">
                        <a:solidFill>
                          <a:schemeClr val="tx1"/>
                        </a:solidFill>
                        <a:latin typeface="+mn-lt"/>
                        <a:cs typeface="Arial" pitchFamily="34" charset="0"/>
                      </a:endParaRPr>
                    </a:p>
                  </a:txBody>
                  <a:tcPr marL="53995" marR="0" marT="72200" marB="722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gridSpan="2">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1000" b="0" i="0" u="none" noProof="0" dirty="0">
                          <a:solidFill>
                            <a:schemeClr val="tx1"/>
                          </a:solidFill>
                          <a:latin typeface="+mn-lt"/>
                          <a:cs typeface="Arial" pitchFamily="34" charset="0"/>
                        </a:rPr>
                        <a:t>Hyperlinks</a:t>
                      </a:r>
                    </a:p>
                  </a:txBody>
                  <a:tcPr marL="53995" marR="0" marT="72200" marB="722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176891">
                <a:tc>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800" b="0" i="0" u="none" noProof="0" dirty="0">
                          <a:solidFill>
                            <a:schemeClr val="tx1"/>
                          </a:solidFill>
                          <a:latin typeface="+mn-lt"/>
                        </a:rPr>
                        <a:t>Standard text box</a:t>
                      </a:r>
                      <a:endParaRPr lang="en-GB" sz="800" b="0" i="0" u="none" noProof="0" dirty="0">
                        <a:solidFill>
                          <a:schemeClr val="tx1"/>
                        </a:solidFill>
                        <a:latin typeface="+mn-lt"/>
                        <a:cs typeface="Arial" pitchFamily="34" charset="0"/>
                      </a:endParaRPr>
                    </a:p>
                  </a:txBody>
                  <a:tcPr marL="53995" marR="0" marT="36100" marB="361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3E3E3"/>
                    </a:solidFill>
                  </a:tcPr>
                </a:tc>
                <a:tc>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800" b="0" i="0" u="none" noProof="0" dirty="0">
                          <a:solidFill>
                            <a:schemeClr val="tx1"/>
                          </a:solidFill>
                          <a:latin typeface="+mn-lt"/>
                        </a:rPr>
                        <a:t>Standard shapes</a:t>
                      </a:r>
                    </a:p>
                  </a:txBody>
                  <a:tcPr marL="53995" marR="80993" marT="36100" marB="361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3E3E3"/>
                    </a:solidFill>
                  </a:tcPr>
                </a:tc>
                <a:tc>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800" b="0" i="0" u="none" noProof="0" dirty="0">
                          <a:solidFill>
                            <a:schemeClr val="tx1"/>
                          </a:solidFill>
                          <a:latin typeface="+mn-lt"/>
                        </a:rPr>
                        <a:t>Standard lines</a:t>
                      </a:r>
                    </a:p>
                  </a:txBody>
                  <a:tcPr marL="53995" marR="80993" marT="36100" marB="361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3E3E3"/>
                    </a:solidFill>
                  </a:tcPr>
                </a:tc>
                <a:tc>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800" b="0" i="0" u="none" noProof="0" dirty="0">
                          <a:solidFill>
                            <a:schemeClr val="tx1"/>
                          </a:solidFill>
                          <a:latin typeface="+mn-lt"/>
                        </a:rPr>
                        <a:t>Doughnut chart</a:t>
                      </a:r>
                    </a:p>
                  </a:txBody>
                  <a:tcPr marL="53995" marR="80993" marT="36100" marB="361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3E3E3"/>
                    </a:solidFill>
                  </a:tcPr>
                </a:tc>
                <a:tc>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800" b="0" i="0" u="none" noProof="0" dirty="0">
                          <a:solidFill>
                            <a:schemeClr val="tx1"/>
                          </a:solidFill>
                          <a:latin typeface="+mn-lt"/>
                        </a:rPr>
                        <a:t>Unvisited</a:t>
                      </a:r>
                    </a:p>
                  </a:txBody>
                  <a:tcPr marL="53995" marR="80993" marT="36100" marB="361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6C6C6"/>
                    </a:solidFill>
                  </a:tcPr>
                </a:tc>
                <a:tc>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en-GB" sz="800" b="0" i="0" u="none" noProof="0" dirty="0">
                          <a:solidFill>
                            <a:schemeClr val="tx1"/>
                          </a:solidFill>
                          <a:latin typeface="+mn-lt"/>
                        </a:rPr>
                        <a:t>Visited</a:t>
                      </a:r>
                      <a:endParaRPr lang="en-GB" sz="800" b="0" i="0" u="none" noProof="0" dirty="0">
                        <a:solidFill>
                          <a:schemeClr val="tx1"/>
                        </a:solidFill>
                        <a:latin typeface="+mn-lt"/>
                        <a:cs typeface="Arial" pitchFamily="34" charset="0"/>
                      </a:endParaRPr>
                    </a:p>
                  </a:txBody>
                  <a:tcPr marL="53995" marR="80993" marT="36100" marB="361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6C6C6"/>
                    </a:solidFill>
                  </a:tcPr>
                </a:tc>
                <a:extLst>
                  <a:ext uri="{0D108BD9-81ED-4DB2-BD59-A6C34878D82A}">
                    <a16:rowId xmlns:a16="http://schemas.microsoft.com/office/drawing/2014/main" val="10001"/>
                  </a:ext>
                </a:extLst>
              </a:tr>
              <a:tr h="1152000">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0" marT="72000" marB="72000">
                    <a:lnL w="19050" cap="flat" cmpd="sng" algn="ctr">
                      <a:solidFill>
                        <a:srgbClr val="FFFFFF"/>
                      </a:solidFill>
                      <a:prstDash val="solid"/>
                      <a:round/>
                      <a:headEnd type="none" w="med" len="med"/>
                      <a:tailEnd type="none" w="med" len="med"/>
                    </a:lnL>
                    <a:lnR w="9525" cap="flat" cmpd="sng" algn="ctr">
                      <a:solidFill>
                        <a:srgbClr val="D9D9D9"/>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9525" cap="flat" cmpd="sng" algn="ctr">
                      <a:solidFill>
                        <a:srgbClr val="D9D9D9"/>
                      </a:solidFill>
                      <a:prstDash val="solid"/>
                      <a:round/>
                      <a:headEnd type="none" w="med" len="med"/>
                      <a:tailEnd type="none" w="med" len="med"/>
                    </a:lnL>
                    <a:lnR w="9525" cap="flat" cmpd="sng" algn="ctr">
                      <a:solidFill>
                        <a:srgbClr val="D9D9D9"/>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b="0" i="1" u="none" noProof="0" dirty="0">
                          <a:solidFill>
                            <a:schemeClr val="tx1"/>
                          </a:solidFill>
                          <a:latin typeface="+mn-lt"/>
                          <a:cs typeface="Segoe UI" pitchFamily="34" charset="0"/>
                        </a:rPr>
                        <a:t>Line weight 0.5 Pt</a:t>
                      </a:r>
                    </a:p>
                  </a:txBody>
                  <a:tcPr marL="72000" marR="108000" marT="72000" marB="72000">
                    <a:lnL w="9525" cap="flat" cmpd="sng" algn="ctr">
                      <a:solidFill>
                        <a:srgbClr val="D9D9D9"/>
                      </a:solidFill>
                      <a:prstDash val="solid"/>
                      <a:round/>
                      <a:headEnd type="none" w="med" len="med"/>
                      <a:tailEnd type="none" w="med" len="med"/>
                    </a:lnL>
                    <a:lnR w="9525" cap="flat" cmpd="sng" algn="ctr">
                      <a:solidFill>
                        <a:srgbClr val="D9D9D9"/>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9525" cap="flat" cmpd="sng" algn="ctr">
                      <a:solidFill>
                        <a:srgbClr val="D9D9D9"/>
                      </a:solidFill>
                      <a:prstDash val="solid"/>
                      <a:round/>
                      <a:headEnd type="none" w="med" len="med"/>
                      <a:tailEnd type="none" w="med" len="med"/>
                    </a:lnL>
                    <a:lnR w="9525" cap="flat" cmpd="sng" algn="ctr">
                      <a:solidFill>
                        <a:srgbClr val="D9D9D9"/>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9525" cap="flat" cmpd="sng" algn="ctr">
                      <a:solidFill>
                        <a:srgbClr val="D9D9D9"/>
                      </a:solidFill>
                      <a:prstDash val="solid"/>
                      <a:round/>
                      <a:headEnd type="none" w="med" len="med"/>
                      <a:tailEnd type="none" w="med" len="med"/>
                    </a:lnL>
                    <a:lnR w="9525" cap="flat" cmpd="sng" algn="ctr">
                      <a:solidFill>
                        <a:srgbClr val="D9D9D9"/>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9525" cap="flat" cmpd="sng" algn="ctr">
                      <a:solidFill>
                        <a:srgbClr val="D9D9D9"/>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2"/>
                  </a:ext>
                </a:extLst>
              </a:tr>
              <a:tr h="555092">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0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188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255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137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211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41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extLst>
                  <a:ext uri="{0D108BD9-81ED-4DB2-BD59-A6C34878D82A}">
                    <a16:rowId xmlns:a16="http://schemas.microsoft.com/office/drawing/2014/main" val="10003"/>
                  </a:ext>
                </a:extLst>
              </a:tr>
            </a:tbl>
          </a:graphicData>
        </a:graphic>
      </p:graphicFrame>
      <p:cxnSp>
        <p:nvCxnSpPr>
          <p:cNvPr id="10" name="Straight Connector 74"/>
          <p:cNvCxnSpPr/>
          <p:nvPr/>
        </p:nvCxnSpPr>
        <p:spPr bwMode="gray">
          <a:xfrm>
            <a:off x="4944422" y="4913133"/>
            <a:ext cx="999608"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1" name="Group 79"/>
          <p:cNvGrpSpPr>
            <a:grpSpLocks/>
          </p:cNvGrpSpPr>
          <p:nvPr/>
        </p:nvGrpSpPr>
        <p:grpSpPr bwMode="gray">
          <a:xfrm>
            <a:off x="1634343" y="5651578"/>
            <a:ext cx="659252" cy="313078"/>
            <a:chOff x="683567" y="4581128"/>
            <a:chExt cx="720081" cy="313078"/>
          </a:xfrm>
        </p:grpSpPr>
        <p:pic>
          <p:nvPicPr>
            <p:cNvPr id="12" name="Picture 2" descr="&#10;"/>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gray">
            <a:xfrm>
              <a:off x="683568" y="4581128"/>
              <a:ext cx="720080" cy="313078"/>
            </a:xfrm>
            <a:prstGeom prst="rect">
              <a:avLst/>
            </a:prstGeom>
            <a:noFill/>
          </p:spPr>
        </p:pic>
        <p:sp>
          <p:nvSpPr>
            <p:cNvPr id="13" name="Rectangle 50"/>
            <p:cNvSpPr/>
            <p:nvPr/>
          </p:nvSpPr>
          <p:spPr bwMode="gray">
            <a:xfrm>
              <a:off x="683567" y="4581128"/>
              <a:ext cx="111199" cy="105172"/>
            </a:xfrm>
            <a:prstGeom prst="rect">
              <a:avLst/>
            </a:prstGeom>
            <a:solidFill>
              <a:srgbClr val="CC0000">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grpSp>
      <p:grpSp>
        <p:nvGrpSpPr>
          <p:cNvPr id="14" name="Group 51"/>
          <p:cNvGrpSpPr>
            <a:grpSpLocks/>
          </p:cNvGrpSpPr>
          <p:nvPr/>
        </p:nvGrpSpPr>
        <p:grpSpPr bwMode="gray">
          <a:xfrm>
            <a:off x="3469837" y="5651971"/>
            <a:ext cx="659251" cy="313079"/>
            <a:chOff x="5459435" y="3263666"/>
            <a:chExt cx="720080" cy="313079"/>
          </a:xfrm>
        </p:grpSpPr>
        <p:pic>
          <p:nvPicPr>
            <p:cNvPr id="15" name="Picture 2" descr="&#10;"/>
            <p:cNvPicPr>
              <a:picLocks noChangeAspect="1" noChangeArrowheads="1"/>
            </p:cNvPicPr>
            <p:nvPr/>
          </p:nvPicPr>
          <p:blipFill>
            <a:blip r:embed="rId5"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gray">
            <a:xfrm>
              <a:off x="5459435" y="3263667"/>
              <a:ext cx="720080" cy="313078"/>
            </a:xfrm>
            <a:prstGeom prst="rect">
              <a:avLst/>
            </a:prstGeom>
            <a:noFill/>
          </p:spPr>
        </p:pic>
        <p:sp>
          <p:nvSpPr>
            <p:cNvPr id="16" name="Rectangle 53"/>
            <p:cNvSpPr/>
            <p:nvPr/>
          </p:nvSpPr>
          <p:spPr bwMode="gray">
            <a:xfrm>
              <a:off x="5774777" y="3263666"/>
              <a:ext cx="314079" cy="198498"/>
            </a:xfrm>
            <a:prstGeom prst="rect">
              <a:avLst/>
            </a:prstGeom>
            <a:solidFill>
              <a:srgbClr val="CC0000">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7" name="Rectangle 54"/>
            <p:cNvSpPr/>
            <p:nvPr/>
          </p:nvSpPr>
          <p:spPr bwMode="gray">
            <a:xfrm>
              <a:off x="5459435" y="3356992"/>
              <a:ext cx="117453" cy="105172"/>
            </a:xfrm>
            <a:prstGeom prst="rect">
              <a:avLst/>
            </a:prstGeom>
            <a:solidFill>
              <a:srgbClr val="CC0000">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grpSp>
      <p:grpSp>
        <p:nvGrpSpPr>
          <p:cNvPr id="18" name="Group 55"/>
          <p:cNvGrpSpPr>
            <a:grpSpLocks/>
          </p:cNvGrpSpPr>
          <p:nvPr/>
        </p:nvGrpSpPr>
        <p:grpSpPr bwMode="gray">
          <a:xfrm>
            <a:off x="5151044" y="5635759"/>
            <a:ext cx="659251" cy="313078"/>
            <a:chOff x="1331641" y="3849203"/>
            <a:chExt cx="720080" cy="313078"/>
          </a:xfrm>
        </p:grpSpPr>
        <p:pic>
          <p:nvPicPr>
            <p:cNvPr id="19"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gray">
            <a:xfrm>
              <a:off x="1331641" y="3849203"/>
              <a:ext cx="720080" cy="313078"/>
            </a:xfrm>
            <a:prstGeom prst="rect">
              <a:avLst/>
            </a:prstGeom>
            <a:noFill/>
          </p:spPr>
        </p:pic>
        <p:sp>
          <p:nvSpPr>
            <p:cNvPr id="20" name="Rectangle 57"/>
            <p:cNvSpPr/>
            <p:nvPr/>
          </p:nvSpPr>
          <p:spPr bwMode="gray">
            <a:xfrm>
              <a:off x="1442839" y="3849203"/>
              <a:ext cx="209749" cy="210828"/>
            </a:xfrm>
            <a:prstGeom prst="rect">
              <a:avLst/>
            </a:prstGeom>
            <a:solidFill>
              <a:srgbClr val="CC0000">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21" name="Rectangle 58"/>
            <p:cNvSpPr/>
            <p:nvPr/>
          </p:nvSpPr>
          <p:spPr bwMode="gray">
            <a:xfrm>
              <a:off x="1331641" y="4060030"/>
              <a:ext cx="630509" cy="102251"/>
            </a:xfrm>
            <a:prstGeom prst="rect">
              <a:avLst/>
            </a:prstGeom>
            <a:solidFill>
              <a:srgbClr val="CC0000">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grpSp>
      <p:pic>
        <p:nvPicPr>
          <p:cNvPr id="22" name="Picture 2" descr="&#10;"/>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gray">
          <a:xfrm>
            <a:off x="7144504" y="5648744"/>
            <a:ext cx="286803" cy="29095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3" name="Picture 2" descr="&#10;"/>
          <p:cNvPicPr>
            <a:picLocks noChangeArrowheads="1"/>
          </p:cNvPicPr>
          <p:nvPr/>
        </p:nvPicPr>
        <p:blipFill>
          <a:blip r:embed="rId7" cstate="print">
            <a:extLst>
              <a:ext uri="{28A0092B-C50C-407E-A947-70E740481C1C}">
                <a14:useLocalDpi xmlns:a14="http://schemas.microsoft.com/office/drawing/2010/main" val="0"/>
              </a:ext>
            </a:extLst>
          </a:blip>
          <a:stretch>
            <a:fillRect/>
          </a:stretch>
        </p:blipFill>
        <p:spPr bwMode="gray">
          <a:xfrm>
            <a:off x="2930796" y="5668917"/>
            <a:ext cx="286803" cy="27849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4" name="Picture 3" descr="&#10;"/>
          <p:cNvPicPr>
            <a:picLocks noChangeArrowheads="1"/>
          </p:cNvPicPr>
          <p:nvPr/>
        </p:nvPicPr>
        <p:blipFill>
          <a:blip r:embed="rId8" cstate="print">
            <a:extLst>
              <a:ext uri="{28A0092B-C50C-407E-A947-70E740481C1C}">
                <a14:useLocalDpi xmlns:a14="http://schemas.microsoft.com/office/drawing/2010/main" val="0"/>
              </a:ext>
            </a:extLst>
          </a:blip>
          <a:stretch>
            <a:fillRect/>
          </a:stretch>
        </p:blipFill>
        <p:spPr bwMode="gray">
          <a:xfrm>
            <a:off x="1127771" y="5704706"/>
            <a:ext cx="252000" cy="21197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4" descr="&#10;"/>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gray">
          <a:xfrm>
            <a:off x="8315646" y="5670060"/>
            <a:ext cx="243820" cy="24382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6" name="Rectangle 28"/>
          <p:cNvSpPr/>
          <p:nvPr/>
        </p:nvSpPr>
        <p:spPr bwMode="gray">
          <a:xfrm>
            <a:off x="3021185" y="4751133"/>
            <a:ext cx="324000" cy="32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Oval 29"/>
          <p:cNvSpPr/>
          <p:nvPr/>
        </p:nvSpPr>
        <p:spPr bwMode="gray">
          <a:xfrm>
            <a:off x="3494220" y="4751133"/>
            <a:ext cx="324000" cy="32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Isosceles Triangle 30"/>
          <p:cNvSpPr/>
          <p:nvPr/>
        </p:nvSpPr>
        <p:spPr bwMode="gray">
          <a:xfrm>
            <a:off x="3970097" y="4751133"/>
            <a:ext cx="324000" cy="324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9" name="TextBox 31"/>
          <p:cNvSpPr txBox="1"/>
          <p:nvPr/>
        </p:nvSpPr>
        <p:spPr bwMode="gray">
          <a:xfrm>
            <a:off x="1297489" y="4768891"/>
            <a:ext cx="838200" cy="324000"/>
          </a:xfrm>
          <a:prstGeom prst="rect">
            <a:avLst/>
          </a:prstGeom>
          <a:noFill/>
        </p:spPr>
        <p:txBody>
          <a:bodyPr wrap="square" lIns="0" tIns="0" rIns="0" bIns="0" rtlCol="0">
            <a:noAutofit/>
          </a:bodyPr>
          <a:lstStyle>
            <a:defPPr>
              <a:defRPr lang="de-DE"/>
            </a:defPPr>
          </a:lstStyle>
          <a:p>
            <a:r>
              <a:rPr lang="en-US" dirty="0"/>
              <a:t>Text</a:t>
            </a:r>
          </a:p>
        </p:txBody>
      </p:sp>
      <p:sp>
        <p:nvSpPr>
          <p:cNvPr id="30" name="TextBox 32"/>
          <p:cNvSpPr txBox="1"/>
          <p:nvPr/>
        </p:nvSpPr>
        <p:spPr bwMode="gray">
          <a:xfrm>
            <a:off x="8348362" y="4844138"/>
            <a:ext cx="1472626" cy="180000"/>
          </a:xfrm>
          <a:prstGeom prst="rect">
            <a:avLst/>
          </a:prstGeom>
          <a:noFill/>
        </p:spPr>
        <p:txBody>
          <a:bodyPr wrap="square" lIns="0" tIns="0" rIns="0" bIns="0" rtlCol="0">
            <a:noAutofit/>
          </a:bodyPr>
          <a:lstStyle/>
          <a:p>
            <a:pPr algn="ctr">
              <a:spcBef>
                <a:spcPts val="1200"/>
              </a:spcBef>
            </a:pPr>
            <a:r>
              <a:rPr lang="en-US" sz="1100" u="sng" dirty="0">
                <a:solidFill>
                  <a:srgbClr val="00BCFF"/>
                </a:solidFill>
              </a:rPr>
              <a:t>www.bayer.de</a:t>
            </a:r>
          </a:p>
        </p:txBody>
      </p:sp>
      <p:sp>
        <p:nvSpPr>
          <p:cNvPr id="31" name="TextBox 33"/>
          <p:cNvSpPr txBox="1"/>
          <p:nvPr/>
        </p:nvSpPr>
        <p:spPr bwMode="gray">
          <a:xfrm>
            <a:off x="10140814" y="4844138"/>
            <a:ext cx="1472400" cy="180000"/>
          </a:xfrm>
          <a:prstGeom prst="rect">
            <a:avLst/>
          </a:prstGeom>
          <a:noFill/>
        </p:spPr>
        <p:txBody>
          <a:bodyPr wrap="square" lIns="0" tIns="0" rIns="0" bIns="0" rtlCol="0">
            <a:noAutofit/>
          </a:bodyPr>
          <a:lstStyle/>
          <a:p>
            <a:pPr algn="ctr">
              <a:spcBef>
                <a:spcPts val="1200"/>
              </a:spcBef>
            </a:pPr>
            <a:r>
              <a:rPr lang="en-US" sz="1100" u="sng" dirty="0">
                <a:solidFill>
                  <a:schemeClr val="accent4"/>
                </a:solidFill>
              </a:rPr>
              <a:t>www.bayer.de</a:t>
            </a:r>
            <a:endParaRPr lang="en-US" sz="1100" dirty="0">
              <a:solidFill>
                <a:schemeClr val="accent4"/>
              </a:solidFill>
            </a:endParaRPr>
          </a:p>
        </p:txBody>
      </p:sp>
      <p:graphicFrame>
        <p:nvGraphicFramePr>
          <p:cNvPr id="32" name="Diagram 34"/>
          <p:cNvGraphicFramePr/>
          <p:nvPr/>
        </p:nvGraphicFramePr>
        <p:xfrm>
          <a:off x="6800430" y="4424857"/>
          <a:ext cx="974950" cy="976551"/>
        </p:xfrm>
        <a:graphic>
          <a:graphicData uri="http://schemas.openxmlformats.org/drawingml/2006/chart">
            <c:chart xmlns:c="http://schemas.openxmlformats.org/drawingml/2006/chart" xmlns:r="http://schemas.openxmlformats.org/officeDocument/2006/relationships" r:id="rId10"/>
          </a:graphicData>
        </a:graphic>
      </p:graphicFrame>
      <p:sp>
        <p:nvSpPr>
          <p:cNvPr id="36" name="Fußzeilenplatzhalter 35"/>
          <p:cNvSpPr>
            <a:spLocks noGrp="1"/>
          </p:cNvSpPr>
          <p:nvPr>
            <p:ph type="ftr" sz="quarter" idx="11"/>
          </p:nvPr>
        </p:nvSpPr>
        <p:spPr/>
        <p:txBody>
          <a:bodyPr/>
          <a:lstStyle/>
          <a:p>
            <a:r>
              <a:rPr lang="en-US"/>
              <a:t>/// Bayer 16:9 Template /// September 2018</a:t>
            </a:r>
            <a:endParaRPr lang="en-US" dirty="0"/>
          </a:p>
        </p:txBody>
      </p:sp>
      <p:sp>
        <p:nvSpPr>
          <p:cNvPr id="37" name="Foliennummernplatzhalter 36"/>
          <p:cNvSpPr>
            <a:spLocks noGrp="1"/>
          </p:cNvSpPr>
          <p:nvPr>
            <p:ph type="sldNum" sz="quarter" idx="12"/>
          </p:nvPr>
        </p:nvSpPr>
        <p:spPr/>
        <p:txBody>
          <a:bodyPr/>
          <a:lstStyle/>
          <a:p>
            <a:fld id="{EEAD9179-7A6B-4268-BEB2-F3B8EB06115B}" type="slidenum">
              <a:rPr lang="en-US" smtClean="0"/>
              <a:t>25</a:t>
            </a:fld>
            <a:endParaRPr lang="en-US" dirty="0"/>
          </a:p>
        </p:txBody>
      </p:sp>
    </p:spTree>
    <p:extLst>
      <p:ext uri="{BB962C8B-B14F-4D97-AF65-F5344CB8AC3E}">
        <p14:creationId xmlns:p14="http://schemas.microsoft.com/office/powerpoint/2010/main" val="3085606964"/>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a:t>Subheadline</a:t>
            </a:r>
            <a:endParaRPr lang="en-US" dirty="0"/>
          </a:p>
        </p:txBody>
      </p:sp>
      <p:sp>
        <p:nvSpPr>
          <p:cNvPr id="2" name="Title 1"/>
          <p:cNvSpPr>
            <a:spLocks noGrp="1"/>
          </p:cNvSpPr>
          <p:nvPr>
            <p:ph type="title"/>
          </p:nvPr>
        </p:nvSpPr>
        <p:spPr/>
        <p:txBody>
          <a:bodyPr/>
          <a:lstStyle/>
          <a:p>
            <a:r>
              <a:rPr lang="en-US"/>
              <a:t>Headline</a:t>
            </a:r>
            <a:endParaRPr lang="en-US" dirty="0"/>
          </a:p>
        </p:txBody>
      </p:sp>
      <p:graphicFrame>
        <p:nvGraphicFramePr>
          <p:cNvPr id="9" name="Text Placeholder 3"/>
          <p:cNvGraphicFramePr>
            <a:graphicFrameLocks/>
          </p:cNvGraphicFramePr>
          <p:nvPr>
            <p:extLst>
              <p:ext uri="{D42A27DB-BD31-4B8C-83A1-F6EECF244321}">
                <p14:modId xmlns:p14="http://schemas.microsoft.com/office/powerpoint/2010/main" val="4281212666"/>
              </p:ext>
            </p:extLst>
          </p:nvPr>
        </p:nvGraphicFramePr>
        <p:xfrm>
          <a:off x="982663" y="1735138"/>
          <a:ext cx="10799760" cy="3003984"/>
        </p:xfrm>
        <a:graphic>
          <a:graphicData uri="http://schemas.openxmlformats.org/drawingml/2006/table">
            <a:tbl>
              <a:tblPr bandRow="1">
                <a:tableStyleId>{5C22544A-7EE6-4342-B048-85BDC9FD1C3A}</a:tableStyleId>
              </a:tblPr>
              <a:tblGrid>
                <a:gridCol w="1079976">
                  <a:extLst>
                    <a:ext uri="{9D8B030D-6E8A-4147-A177-3AD203B41FA5}">
                      <a16:colId xmlns:a16="http://schemas.microsoft.com/office/drawing/2014/main" val="20000"/>
                    </a:ext>
                  </a:extLst>
                </a:gridCol>
                <a:gridCol w="1079976">
                  <a:extLst>
                    <a:ext uri="{9D8B030D-6E8A-4147-A177-3AD203B41FA5}">
                      <a16:colId xmlns:a16="http://schemas.microsoft.com/office/drawing/2014/main" val="20001"/>
                    </a:ext>
                  </a:extLst>
                </a:gridCol>
                <a:gridCol w="1079976">
                  <a:extLst>
                    <a:ext uri="{9D8B030D-6E8A-4147-A177-3AD203B41FA5}">
                      <a16:colId xmlns:a16="http://schemas.microsoft.com/office/drawing/2014/main" val="20002"/>
                    </a:ext>
                  </a:extLst>
                </a:gridCol>
                <a:gridCol w="1079976">
                  <a:extLst>
                    <a:ext uri="{9D8B030D-6E8A-4147-A177-3AD203B41FA5}">
                      <a16:colId xmlns:a16="http://schemas.microsoft.com/office/drawing/2014/main" val="20003"/>
                    </a:ext>
                  </a:extLst>
                </a:gridCol>
                <a:gridCol w="1079976">
                  <a:extLst>
                    <a:ext uri="{9D8B030D-6E8A-4147-A177-3AD203B41FA5}">
                      <a16:colId xmlns:a16="http://schemas.microsoft.com/office/drawing/2014/main" val="20004"/>
                    </a:ext>
                  </a:extLst>
                </a:gridCol>
                <a:gridCol w="1079976">
                  <a:extLst>
                    <a:ext uri="{9D8B030D-6E8A-4147-A177-3AD203B41FA5}">
                      <a16:colId xmlns:a16="http://schemas.microsoft.com/office/drawing/2014/main" val="20005"/>
                    </a:ext>
                  </a:extLst>
                </a:gridCol>
                <a:gridCol w="1079976">
                  <a:extLst>
                    <a:ext uri="{9D8B030D-6E8A-4147-A177-3AD203B41FA5}">
                      <a16:colId xmlns:a16="http://schemas.microsoft.com/office/drawing/2014/main" val="20006"/>
                    </a:ext>
                  </a:extLst>
                </a:gridCol>
                <a:gridCol w="1079976">
                  <a:extLst>
                    <a:ext uri="{9D8B030D-6E8A-4147-A177-3AD203B41FA5}">
                      <a16:colId xmlns:a16="http://schemas.microsoft.com/office/drawing/2014/main" val="20007"/>
                    </a:ext>
                  </a:extLst>
                </a:gridCol>
                <a:gridCol w="1079976">
                  <a:extLst>
                    <a:ext uri="{9D8B030D-6E8A-4147-A177-3AD203B41FA5}">
                      <a16:colId xmlns:a16="http://schemas.microsoft.com/office/drawing/2014/main" val="20008"/>
                    </a:ext>
                  </a:extLst>
                </a:gridCol>
                <a:gridCol w="1079976">
                  <a:extLst>
                    <a:ext uri="{9D8B030D-6E8A-4147-A177-3AD203B41FA5}">
                      <a16:colId xmlns:a16="http://schemas.microsoft.com/office/drawing/2014/main" val="20009"/>
                    </a:ext>
                  </a:extLst>
                </a:gridCol>
              </a:tblGrid>
              <a:tr h="258138">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kumimoji="0" lang="en-US" sz="1000" b="0" u="none" strike="noStrike" kern="1200" cap="none" spc="0" normalizeH="0" baseline="0" noProof="0" dirty="0">
                          <a:ln>
                            <a:noFill/>
                          </a:ln>
                          <a:solidFill>
                            <a:schemeClr val="tx1"/>
                          </a:solidFill>
                          <a:effectLst/>
                          <a:uLnTx/>
                          <a:uFillTx/>
                          <a:latin typeface="+mn-lt"/>
                          <a:cs typeface="Segoe UI" pitchFamily="34" charset="0"/>
                        </a:rPr>
                        <a:t>Custom colors</a:t>
                      </a:r>
                      <a:endParaRPr lang="en-US" sz="1000" b="0" i="1" u="none" noProof="0" dirty="0">
                        <a:solidFill>
                          <a:schemeClr val="tx1"/>
                        </a:solidFill>
                        <a:latin typeface="+mn-lt"/>
                        <a:cs typeface="Segoe UI" pitchFamily="34" charset="0"/>
                      </a:endParaRPr>
                    </a:p>
                  </a:txBody>
                  <a:tcPr marL="72000"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dirty="0">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816574">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0F4B"/>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316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3247"/>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2496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0384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617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91D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BCF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442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B6636"/>
                    </a:solidFill>
                  </a:tcPr>
                </a:tc>
                <a:extLst>
                  <a:ext uri="{0D108BD9-81ED-4DB2-BD59-A6C34878D82A}">
                    <a16:rowId xmlns:a16="http://schemas.microsoft.com/office/drawing/2014/main" val="10001"/>
                  </a:ext>
                </a:extLst>
              </a:tr>
              <a:tr h="536905">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211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15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75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255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49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98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68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50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71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98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73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99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baseline="0" noProof="0" dirty="0">
                          <a:solidFill>
                            <a:schemeClr val="tx1"/>
                          </a:solidFill>
                          <a:latin typeface="+mn-lt"/>
                          <a:cs typeface="Segoe UI" pitchFamily="34" charset="0"/>
                        </a:rPr>
                        <a:t>16 </a:t>
                      </a:r>
                      <a:r>
                        <a:rPr lang="en-GB" sz="800" b="0" i="1" u="none" noProof="0" dirty="0">
                          <a:solidFill>
                            <a:schemeClr val="tx1"/>
                          </a:solidFill>
                          <a:latin typeface="+mn-lt"/>
                          <a:cs typeface="Segoe UI" pitchFamily="34" charset="0"/>
                        </a:rPr>
                        <a:t>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56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79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0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97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127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0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145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223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0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baseline="0" noProof="0" dirty="0">
                          <a:solidFill>
                            <a:schemeClr val="tx1"/>
                          </a:solidFill>
                          <a:latin typeface="+mn-lt"/>
                          <a:cs typeface="Segoe UI" pitchFamily="34" charset="0"/>
                        </a:rPr>
                        <a:t>188 </a:t>
                      </a:r>
                      <a:r>
                        <a:rPr lang="en-GB" sz="800" b="0" i="1" u="none" noProof="0" dirty="0">
                          <a:solidFill>
                            <a:schemeClr val="tx1"/>
                          </a:solidFill>
                          <a:latin typeface="+mn-lt"/>
                          <a:cs typeface="Segoe UI" pitchFamily="34" charset="0"/>
                        </a:rPr>
                        <a:t>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255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baseline="0" noProof="0" dirty="0">
                          <a:solidFill>
                            <a:schemeClr val="tx1"/>
                          </a:solidFill>
                          <a:latin typeface="+mn-lt"/>
                          <a:cs typeface="Segoe UI" pitchFamily="34" charset="0"/>
                        </a:rPr>
                        <a:t>0 </a:t>
                      </a:r>
                      <a:r>
                        <a:rPr lang="en-GB" sz="800" b="0" i="1" u="none" noProof="0" dirty="0">
                          <a:solidFill>
                            <a:schemeClr val="tx1"/>
                          </a:solidFill>
                          <a:latin typeface="+mn-lt"/>
                          <a:cs typeface="Segoe UI" pitchFamily="34" charset="0"/>
                        </a:rPr>
                        <a:t>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68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34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43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102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54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extLst>
                  <a:ext uri="{0D108BD9-81ED-4DB2-BD59-A6C34878D82A}">
                    <a16:rowId xmlns:a16="http://schemas.microsoft.com/office/drawing/2014/main" val="10002"/>
                  </a:ext>
                </a:extLst>
              </a:tr>
              <a:tr h="817200">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6B51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9D329"/>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C0000"/>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CC00"/>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6B51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0" i="1" u="none" noProof="0" dirty="0">
                        <a:solidFill>
                          <a:schemeClr val="tx1"/>
                        </a:solidFill>
                        <a:latin typeface="+mn-lt"/>
                        <a:cs typeface="Segoe UI" pitchFamily="34" charset="0"/>
                      </a:endParaRPr>
                    </a:p>
                  </a:txBody>
                  <a:tcPr marL="72000" marR="10800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r h="536905">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102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181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18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137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211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dirty="0">
                          <a:solidFill>
                            <a:schemeClr val="tx1"/>
                          </a:solidFill>
                          <a:latin typeface="+mn-lt"/>
                          <a:cs typeface="Segoe UI" pitchFamily="34" charset="0"/>
                        </a:rPr>
                        <a:t>41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kern="1200" noProof="0" dirty="0">
                          <a:solidFill>
                            <a:schemeClr val="tx1"/>
                          </a:solidFill>
                          <a:latin typeface="+mn-lt"/>
                          <a:ea typeface="+mn-ea"/>
                          <a:cs typeface="Segoe UI" pitchFamily="34" charset="0"/>
                        </a:rPr>
                        <a:t>204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kern="1200" noProof="0" dirty="0">
                          <a:solidFill>
                            <a:schemeClr val="tx1"/>
                          </a:solidFill>
                          <a:latin typeface="+mn-lt"/>
                          <a:ea typeface="+mn-ea"/>
                          <a:cs typeface="Segoe UI" pitchFamily="34" charset="0"/>
                        </a:rPr>
                        <a:t>0 G </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kern="1200" noProof="0" dirty="0">
                          <a:solidFill>
                            <a:schemeClr val="tx1"/>
                          </a:solidFill>
                          <a:latin typeface="+mn-lt"/>
                          <a:ea typeface="+mn-ea"/>
                          <a:cs typeface="Segoe UI" pitchFamily="34" charset="0"/>
                        </a:rPr>
                        <a:t>0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kern="1200" noProof="0" dirty="0">
                          <a:solidFill>
                            <a:schemeClr val="tx1"/>
                          </a:solidFill>
                          <a:latin typeface="+mn-lt"/>
                          <a:ea typeface="+mn-ea"/>
                          <a:cs typeface="Segoe UI" pitchFamily="34" charset="0"/>
                        </a:rPr>
                        <a:t>255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kern="1200" noProof="0" dirty="0">
                          <a:solidFill>
                            <a:schemeClr val="tx1"/>
                          </a:solidFill>
                          <a:latin typeface="+mn-lt"/>
                          <a:ea typeface="+mn-ea"/>
                          <a:cs typeface="Segoe UI" pitchFamily="34" charset="0"/>
                        </a:rPr>
                        <a:t>204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kern="1200" noProof="0" dirty="0">
                          <a:solidFill>
                            <a:schemeClr val="tx1"/>
                          </a:solidFill>
                          <a:latin typeface="+mn-lt"/>
                          <a:ea typeface="+mn-ea"/>
                          <a:cs typeface="Segoe UI" pitchFamily="34" charset="0"/>
                        </a:rPr>
                        <a:t>0 B</a:t>
                      </a: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a:solidFill>
                            <a:schemeClr val="tx1"/>
                          </a:solidFill>
                          <a:latin typeface="+mn-lt"/>
                          <a:cs typeface="Segoe UI" pitchFamily="34" charset="0"/>
                        </a:rPr>
                        <a:t>102 R</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a:solidFill>
                            <a:schemeClr val="tx1"/>
                          </a:solidFill>
                          <a:latin typeface="+mn-lt"/>
                          <a:cs typeface="Segoe UI" pitchFamily="34" charset="0"/>
                        </a:rPr>
                        <a:t>181 G</a:t>
                      </a:r>
                    </a:p>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r>
                        <a:rPr lang="en-GB" sz="800" b="0" i="1" u="none" noProof="0">
                          <a:solidFill>
                            <a:schemeClr val="tx1"/>
                          </a:solidFill>
                          <a:latin typeface="+mn-lt"/>
                          <a:cs typeface="Segoe UI" pitchFamily="34" charset="0"/>
                        </a:rPr>
                        <a:t>18 B</a:t>
                      </a:r>
                      <a:endParaRPr lang="en-GB" sz="800" b="0" i="1" u="none" noProof="0" dirty="0">
                        <a:solidFill>
                          <a:schemeClr val="tx1"/>
                        </a:solidFill>
                        <a:latin typeface="+mn-lt"/>
                        <a:cs typeface="Segoe UI" pitchFamily="34" charset="0"/>
                      </a:endParaRP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DEF"/>
                    </a:solidFill>
                  </a:tcPr>
                </a:tc>
                <a:tc>
                  <a:txBody>
                    <a:bodyPr/>
                    <a:lstStyle/>
                    <a:p>
                      <a:endParaRPr lang="de-DE" dirty="0"/>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endParaRPr lang="de-DE" dirty="0"/>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i="1" u="none" noProof="0" dirty="0">
                        <a:solidFill>
                          <a:schemeClr val="tx1"/>
                        </a:solidFill>
                        <a:latin typeface="+mn-lt"/>
                        <a:cs typeface="Segoe UI" pitchFamily="34" charset="0"/>
                      </a:endParaRP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i="1" u="none" noProof="0" dirty="0">
                        <a:solidFill>
                          <a:schemeClr val="tx1"/>
                        </a:solidFill>
                        <a:latin typeface="+mn-lt"/>
                        <a:cs typeface="Segoe UI" pitchFamily="34" charset="0"/>
                      </a:endParaRP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i="1" u="none" noProof="0" dirty="0">
                        <a:solidFill>
                          <a:schemeClr val="tx1"/>
                        </a:solidFill>
                        <a:latin typeface="+mn-lt"/>
                        <a:cs typeface="Segoe UI" pitchFamily="34" charset="0"/>
                      </a:endParaRPr>
                    </a:p>
                  </a:txBody>
                  <a:tcPr marL="72000" marR="7200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12" name="Fußzeilenplatzhalter 11"/>
          <p:cNvSpPr>
            <a:spLocks noGrp="1"/>
          </p:cNvSpPr>
          <p:nvPr>
            <p:ph type="ftr" sz="quarter" idx="11"/>
          </p:nvPr>
        </p:nvSpPr>
        <p:spPr/>
        <p:txBody>
          <a:bodyPr/>
          <a:lstStyle/>
          <a:p>
            <a:r>
              <a:rPr lang="en-US"/>
              <a:t>/// Bayer 16:9 Template /// September 2018</a:t>
            </a:r>
            <a:endParaRPr lang="en-US" dirty="0"/>
          </a:p>
        </p:txBody>
      </p:sp>
      <p:sp>
        <p:nvSpPr>
          <p:cNvPr id="13" name="Foliennummernplatzhalter 12"/>
          <p:cNvSpPr>
            <a:spLocks noGrp="1"/>
          </p:cNvSpPr>
          <p:nvPr>
            <p:ph type="sldNum" sz="quarter" idx="12"/>
          </p:nvPr>
        </p:nvSpPr>
        <p:spPr/>
        <p:txBody>
          <a:bodyPr/>
          <a:lstStyle/>
          <a:p>
            <a:fld id="{EEAD9179-7A6B-4268-BEB2-F3B8EB06115B}" type="slidenum">
              <a:rPr lang="en-US" smtClean="0"/>
              <a:t>26</a:t>
            </a:fld>
            <a:endParaRPr lang="en-US" dirty="0"/>
          </a:p>
        </p:txBody>
      </p:sp>
    </p:spTree>
    <p:extLst>
      <p:ext uri="{BB962C8B-B14F-4D97-AF65-F5344CB8AC3E}">
        <p14:creationId xmlns:p14="http://schemas.microsoft.com/office/powerpoint/2010/main" val="3532656693"/>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Untertitel 8">
            <a:extLst>
              <a:ext uri="{FF2B5EF4-FFF2-40B4-BE49-F238E27FC236}">
                <a16:creationId xmlns:a16="http://schemas.microsoft.com/office/drawing/2014/main" id="{3DFFA4B2-02F7-46A4-B9E3-8FE974963677}"/>
              </a:ext>
            </a:extLst>
          </p:cNvPr>
          <p:cNvSpPr>
            <a:spLocks noGrp="1"/>
          </p:cNvSpPr>
          <p:nvPr>
            <p:ph type="subTitle" idx="13"/>
          </p:nvPr>
        </p:nvSpPr>
        <p:spPr/>
        <p:txBody>
          <a:bodyPr/>
          <a:lstStyle/>
          <a:p>
            <a:r>
              <a:rPr lang="en-US" dirty="0"/>
              <a:t> </a:t>
            </a:r>
          </a:p>
        </p:txBody>
      </p:sp>
      <p:sp>
        <p:nvSpPr>
          <p:cNvPr id="8" name="Titel 7">
            <a:extLst>
              <a:ext uri="{FF2B5EF4-FFF2-40B4-BE49-F238E27FC236}">
                <a16:creationId xmlns:a16="http://schemas.microsoft.com/office/drawing/2014/main" id="{DC6C4FB8-77CE-4A9D-8DA3-E54918B43775}"/>
              </a:ext>
            </a:extLst>
          </p:cNvPr>
          <p:cNvSpPr>
            <a:spLocks noGrp="1"/>
          </p:cNvSpPr>
          <p:nvPr>
            <p:ph type="title"/>
          </p:nvPr>
        </p:nvSpPr>
        <p:spPr/>
        <p:txBody>
          <a:bodyPr/>
          <a:lstStyle/>
          <a:p>
            <a:r>
              <a:rPr lang="en-US" dirty="0"/>
              <a:t>Content area and guides	</a:t>
            </a:r>
          </a:p>
        </p:txBody>
      </p:sp>
      <p:sp>
        <p:nvSpPr>
          <p:cNvPr id="2" name="Footer Placeholder 1"/>
          <p:cNvSpPr>
            <a:spLocks noGrp="1"/>
          </p:cNvSpPr>
          <p:nvPr>
            <p:ph type="ftr" sz="quarter" idx="11"/>
          </p:nvPr>
        </p:nvSpPr>
        <p:spPr bwMode="gray"/>
        <p:txBody>
          <a:bodyPr/>
          <a:lstStyle/>
          <a:p>
            <a:r>
              <a:rPr lang="en-US"/>
              <a:t>/// Bayer 16:9 Template /// September 2018</a:t>
            </a:r>
            <a:endParaRPr lang="en-US" dirty="0"/>
          </a:p>
        </p:txBody>
      </p:sp>
      <p:sp>
        <p:nvSpPr>
          <p:cNvPr id="3" name="Slide Number Placeholder 4"/>
          <p:cNvSpPr>
            <a:spLocks noGrp="1"/>
          </p:cNvSpPr>
          <p:nvPr>
            <p:ph type="sldNum" sz="quarter" idx="12"/>
          </p:nvPr>
        </p:nvSpPr>
        <p:spPr bwMode="gray"/>
        <p:txBody>
          <a:bodyPr/>
          <a:lstStyle/>
          <a:p>
            <a:fld id="{EEAD9179-7A6B-4268-BEB2-F3B8EB06115B}" type="slidenum">
              <a:rPr lang="en-US" smtClean="0"/>
              <a:pPr/>
              <a:t>27</a:t>
            </a:fld>
            <a:endParaRPr lang="en-US" dirty="0"/>
          </a:p>
        </p:txBody>
      </p:sp>
      <p:sp>
        <p:nvSpPr>
          <p:cNvPr id="10" name="Inhaltsplatzhalter 9">
            <a:extLst>
              <a:ext uri="{FF2B5EF4-FFF2-40B4-BE49-F238E27FC236}">
                <a16:creationId xmlns:a16="http://schemas.microsoft.com/office/drawing/2014/main" id="{177645EF-3D43-4D5A-A209-D268DA125A54}"/>
              </a:ext>
            </a:extLst>
          </p:cNvPr>
          <p:cNvSpPr>
            <a:spLocks noGrp="1"/>
          </p:cNvSpPr>
          <p:nvPr>
            <p:ph sz="quarter" idx="14"/>
          </p:nvPr>
        </p:nvSpPr>
        <p:spPr/>
        <p:txBody>
          <a:bodyPr/>
          <a:lstStyle/>
          <a:p>
            <a:endParaRPr lang="en-US" dirty="0"/>
          </a:p>
        </p:txBody>
      </p:sp>
      <p:sp>
        <p:nvSpPr>
          <p:cNvPr id="11" name="Rectangle 17">
            <a:extLst>
              <a:ext uri="{FF2B5EF4-FFF2-40B4-BE49-F238E27FC236}">
                <a16:creationId xmlns:a16="http://schemas.microsoft.com/office/drawing/2014/main" id="{2B9FD0B7-D4CD-4EFC-B9C4-0E90FDD151A2}"/>
              </a:ext>
            </a:extLst>
          </p:cNvPr>
          <p:cNvSpPr/>
          <p:nvPr/>
        </p:nvSpPr>
        <p:spPr bwMode="gray">
          <a:xfrm>
            <a:off x="982664" y="1735137"/>
            <a:ext cx="10800000" cy="47496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strict your content to this area</a:t>
            </a:r>
          </a:p>
        </p:txBody>
      </p:sp>
      <p:cxnSp>
        <p:nvCxnSpPr>
          <p:cNvPr id="13" name="Straight Connector 9">
            <a:extLst>
              <a:ext uri="{FF2B5EF4-FFF2-40B4-BE49-F238E27FC236}">
                <a16:creationId xmlns:a16="http://schemas.microsoft.com/office/drawing/2014/main" id="{898FCF48-59A9-4BE1-9A62-144AA6506613}"/>
              </a:ext>
            </a:extLst>
          </p:cNvPr>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0">
            <a:extLst>
              <a:ext uri="{FF2B5EF4-FFF2-40B4-BE49-F238E27FC236}">
                <a16:creationId xmlns:a16="http://schemas.microsoft.com/office/drawing/2014/main" id="{3F503BB4-0133-403A-B4C0-0E170CFC4E4D}"/>
              </a:ext>
            </a:extLst>
          </p:cNvPr>
          <p:cNvCxnSpPr/>
          <p:nvPr/>
        </p:nvCxnSpPr>
        <p:spPr bwMode="gray">
          <a:xfrm>
            <a:off x="0" y="6484751"/>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1">
            <a:extLst>
              <a:ext uri="{FF2B5EF4-FFF2-40B4-BE49-F238E27FC236}">
                <a16:creationId xmlns:a16="http://schemas.microsoft.com/office/drawing/2014/main" id="{4C44B17E-CBE7-4A2C-810B-858011BAA478}"/>
              </a:ext>
            </a:extLst>
          </p:cNvPr>
          <p:cNvCxnSpPr/>
          <p:nvPr/>
        </p:nvCxnSpPr>
        <p:spPr bwMode="gray">
          <a:xfrm flipV="1">
            <a:off x="982664"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4">
            <a:extLst>
              <a:ext uri="{FF2B5EF4-FFF2-40B4-BE49-F238E27FC236}">
                <a16:creationId xmlns:a16="http://schemas.microsoft.com/office/drawing/2014/main" id="{9536D027-A02E-44F8-92AA-084C458B9132}"/>
              </a:ext>
            </a:extLst>
          </p:cNvPr>
          <p:cNvCxnSpPr/>
          <p:nvPr/>
        </p:nvCxnSpPr>
        <p:spPr bwMode="gray">
          <a:xfrm flipV="1">
            <a:off x="117824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5">
            <a:extLst>
              <a:ext uri="{FF2B5EF4-FFF2-40B4-BE49-F238E27FC236}">
                <a16:creationId xmlns:a16="http://schemas.microsoft.com/office/drawing/2014/main" id="{4E3C1CC7-EC1A-41C3-A556-B06DEE0024B7}"/>
              </a:ext>
            </a:extLst>
          </p:cNvPr>
          <p:cNvCxnSpPr/>
          <p:nvPr/>
        </p:nvCxnSpPr>
        <p:spPr bwMode="gray">
          <a:xfrm flipV="1">
            <a:off x="620395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6">
            <a:extLst>
              <a:ext uri="{FF2B5EF4-FFF2-40B4-BE49-F238E27FC236}">
                <a16:creationId xmlns:a16="http://schemas.microsoft.com/office/drawing/2014/main" id="{FF6BCA42-1835-438C-8474-6764467D048E}"/>
              </a:ext>
            </a:extLst>
          </p:cNvPr>
          <p:cNvCxnSpPr/>
          <p:nvPr/>
        </p:nvCxnSpPr>
        <p:spPr bwMode="gray">
          <a:xfrm flipV="1">
            <a:off x="656342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 name="Straight Connector 27">
            <a:extLst>
              <a:ext uri="{FF2B5EF4-FFF2-40B4-BE49-F238E27FC236}">
                <a16:creationId xmlns:a16="http://schemas.microsoft.com/office/drawing/2014/main" id="{0B278389-496D-47E5-99FC-EB201BF30B89}"/>
              </a:ext>
            </a:extLst>
          </p:cNvPr>
          <p:cNvCxnSpPr/>
          <p:nvPr/>
        </p:nvCxnSpPr>
        <p:spPr bwMode="gray">
          <a:xfrm>
            <a:off x="0" y="393486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 name="Straight Connector 28">
            <a:extLst>
              <a:ext uri="{FF2B5EF4-FFF2-40B4-BE49-F238E27FC236}">
                <a16:creationId xmlns:a16="http://schemas.microsoft.com/office/drawing/2014/main" id="{96349B5D-AE28-4C77-A48D-7E319C0C3196}"/>
              </a:ext>
            </a:extLst>
          </p:cNvPr>
          <p:cNvCxnSpPr/>
          <p:nvPr/>
        </p:nvCxnSpPr>
        <p:spPr bwMode="gray">
          <a:xfrm>
            <a:off x="0" y="4289945"/>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9">
            <a:extLst>
              <a:ext uri="{FF2B5EF4-FFF2-40B4-BE49-F238E27FC236}">
                <a16:creationId xmlns:a16="http://schemas.microsoft.com/office/drawing/2014/main" id="{0609AD1D-C337-4130-84CF-CF3C938925D0}"/>
              </a:ext>
            </a:extLst>
          </p:cNvPr>
          <p:cNvCxnSpPr/>
          <p:nvPr/>
        </p:nvCxnSpPr>
        <p:spPr bwMode="gray">
          <a:xfrm flipV="1">
            <a:off x="3411538"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30">
            <a:extLst>
              <a:ext uri="{FF2B5EF4-FFF2-40B4-BE49-F238E27FC236}">
                <a16:creationId xmlns:a16="http://schemas.microsoft.com/office/drawing/2014/main" id="{572C9510-A597-43A1-9F29-5802F80C836B}"/>
              </a:ext>
            </a:extLst>
          </p:cNvPr>
          <p:cNvCxnSpPr/>
          <p:nvPr/>
        </p:nvCxnSpPr>
        <p:spPr bwMode="gray">
          <a:xfrm flipV="1">
            <a:off x="3771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Connector 31">
            <a:extLst>
              <a:ext uri="{FF2B5EF4-FFF2-40B4-BE49-F238E27FC236}">
                <a16:creationId xmlns:a16="http://schemas.microsoft.com/office/drawing/2014/main" id="{3A3559C1-905D-41C4-8A0C-15DEFD3F1769}"/>
              </a:ext>
            </a:extLst>
          </p:cNvPr>
          <p:cNvCxnSpPr/>
          <p:nvPr/>
        </p:nvCxnSpPr>
        <p:spPr bwMode="gray">
          <a:xfrm flipV="1">
            <a:off x="8992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 name="Straight Connector 32">
            <a:extLst>
              <a:ext uri="{FF2B5EF4-FFF2-40B4-BE49-F238E27FC236}">
                <a16:creationId xmlns:a16="http://schemas.microsoft.com/office/drawing/2014/main" id="{BA357A22-75F3-45FF-8A39-1360BC823EC6}"/>
              </a:ext>
            </a:extLst>
          </p:cNvPr>
          <p:cNvCxnSpPr/>
          <p:nvPr/>
        </p:nvCxnSpPr>
        <p:spPr bwMode="gray">
          <a:xfrm flipV="1">
            <a:off x="93567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5" name="Rectangle 33">
            <a:extLst>
              <a:ext uri="{FF2B5EF4-FFF2-40B4-BE49-F238E27FC236}">
                <a16:creationId xmlns:a16="http://schemas.microsoft.com/office/drawing/2014/main" id="{FFF9A3EC-C58F-42CA-9FC2-7B58D34CAED2}"/>
              </a:ext>
            </a:extLst>
          </p:cNvPr>
          <p:cNvSpPr/>
          <p:nvPr/>
        </p:nvSpPr>
        <p:spPr bwMode="gray">
          <a:xfrm>
            <a:off x="98266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en-US" sz="800" dirty="0">
                <a:solidFill>
                  <a:schemeClr val="accent6"/>
                </a:solidFill>
              </a:rPr>
              <a:t>14,20</a:t>
            </a:r>
          </a:p>
          <a:p>
            <a:pPr algn="l"/>
            <a:r>
              <a:rPr lang="en-US" sz="800" dirty="0">
                <a:solidFill>
                  <a:schemeClr val="accent6"/>
                </a:solidFill>
              </a:rPr>
              <a:t>5.59</a:t>
            </a:r>
          </a:p>
          <a:p>
            <a:pPr algn="l"/>
            <a:endParaRPr lang="en-US" sz="800" dirty="0">
              <a:solidFill>
                <a:schemeClr val="accent6"/>
              </a:solidFill>
            </a:endParaRPr>
          </a:p>
        </p:txBody>
      </p:sp>
      <p:sp>
        <p:nvSpPr>
          <p:cNvPr id="26" name="Rectangle 34">
            <a:extLst>
              <a:ext uri="{FF2B5EF4-FFF2-40B4-BE49-F238E27FC236}">
                <a16:creationId xmlns:a16="http://schemas.microsoft.com/office/drawing/2014/main" id="{32D32C9A-1E1C-4F7E-AC12-256E4602355B}"/>
              </a:ext>
            </a:extLst>
          </p:cNvPr>
          <p:cNvSpPr/>
          <p:nvPr/>
        </p:nvSpPr>
        <p:spPr bwMode="gray">
          <a:xfrm>
            <a:off x="3030538"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en-US" sz="800" dirty="0">
                <a:solidFill>
                  <a:schemeClr val="accent6"/>
                </a:solidFill>
              </a:rPr>
              <a:t>7,45</a:t>
            </a:r>
          </a:p>
          <a:p>
            <a:pPr algn="r"/>
            <a:r>
              <a:rPr lang="en-US" sz="800" dirty="0">
                <a:solidFill>
                  <a:schemeClr val="accent6"/>
                </a:solidFill>
              </a:rPr>
              <a:t>2.93</a:t>
            </a:r>
          </a:p>
        </p:txBody>
      </p:sp>
      <p:sp>
        <p:nvSpPr>
          <p:cNvPr id="27" name="Rectangle 35">
            <a:extLst>
              <a:ext uri="{FF2B5EF4-FFF2-40B4-BE49-F238E27FC236}">
                <a16:creationId xmlns:a16="http://schemas.microsoft.com/office/drawing/2014/main" id="{3E737F6A-AC7D-4878-9D3A-6610A660136F}"/>
              </a:ext>
            </a:extLst>
          </p:cNvPr>
          <p:cNvSpPr/>
          <p:nvPr/>
        </p:nvSpPr>
        <p:spPr bwMode="gray">
          <a:xfrm>
            <a:off x="377247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en-US" sz="800" dirty="0">
                <a:solidFill>
                  <a:schemeClr val="accent6"/>
                </a:solidFill>
              </a:rPr>
              <a:t>6,45</a:t>
            </a:r>
          </a:p>
          <a:p>
            <a:pPr algn="l"/>
            <a:r>
              <a:rPr lang="en-US" sz="800" dirty="0">
                <a:solidFill>
                  <a:schemeClr val="accent6"/>
                </a:solidFill>
              </a:rPr>
              <a:t>2.54</a:t>
            </a:r>
          </a:p>
        </p:txBody>
      </p:sp>
      <p:sp>
        <p:nvSpPr>
          <p:cNvPr id="28" name="Rectangle 36">
            <a:extLst>
              <a:ext uri="{FF2B5EF4-FFF2-40B4-BE49-F238E27FC236}">
                <a16:creationId xmlns:a16="http://schemas.microsoft.com/office/drawing/2014/main" id="{CE5CD297-8457-48AB-8EF7-8FAA608CD8F0}"/>
              </a:ext>
            </a:extLst>
          </p:cNvPr>
          <p:cNvSpPr/>
          <p:nvPr/>
        </p:nvSpPr>
        <p:spPr bwMode="gray">
          <a:xfrm>
            <a:off x="582295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en-US" sz="800" dirty="0">
                <a:solidFill>
                  <a:schemeClr val="accent6"/>
                </a:solidFill>
              </a:rPr>
              <a:t>0,30</a:t>
            </a:r>
          </a:p>
          <a:p>
            <a:pPr algn="r"/>
            <a:r>
              <a:rPr lang="en-US" sz="800" dirty="0">
                <a:solidFill>
                  <a:schemeClr val="accent6"/>
                </a:solidFill>
              </a:rPr>
              <a:t>0.12</a:t>
            </a:r>
          </a:p>
        </p:txBody>
      </p:sp>
      <p:sp>
        <p:nvSpPr>
          <p:cNvPr id="29" name="Rectangle 37">
            <a:extLst>
              <a:ext uri="{FF2B5EF4-FFF2-40B4-BE49-F238E27FC236}">
                <a16:creationId xmlns:a16="http://schemas.microsoft.com/office/drawing/2014/main" id="{42701CB1-A245-4AF9-92E5-BC25883F6F70}"/>
              </a:ext>
            </a:extLst>
          </p:cNvPr>
          <p:cNvSpPr/>
          <p:nvPr/>
        </p:nvSpPr>
        <p:spPr bwMode="gray">
          <a:xfrm>
            <a:off x="6566371"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en-US" sz="800" dirty="0">
                <a:solidFill>
                  <a:schemeClr val="accent6"/>
                </a:solidFill>
              </a:rPr>
              <a:t>1,30</a:t>
            </a:r>
          </a:p>
          <a:p>
            <a:pPr algn="l"/>
            <a:r>
              <a:rPr lang="en-US" sz="800" dirty="0">
                <a:solidFill>
                  <a:schemeClr val="accent6"/>
                </a:solidFill>
              </a:rPr>
              <a:t>0.51</a:t>
            </a:r>
          </a:p>
        </p:txBody>
      </p:sp>
      <p:sp>
        <p:nvSpPr>
          <p:cNvPr id="30" name="Rectangle 38">
            <a:extLst>
              <a:ext uri="{FF2B5EF4-FFF2-40B4-BE49-F238E27FC236}">
                <a16:creationId xmlns:a16="http://schemas.microsoft.com/office/drawing/2014/main" id="{C33D91FC-230B-4411-986C-5828FF88C680}"/>
              </a:ext>
            </a:extLst>
          </p:cNvPr>
          <p:cNvSpPr/>
          <p:nvPr/>
        </p:nvSpPr>
        <p:spPr bwMode="gray">
          <a:xfrm>
            <a:off x="861190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en-US" sz="800" dirty="0">
                <a:solidFill>
                  <a:schemeClr val="accent6"/>
                </a:solidFill>
              </a:rPr>
              <a:t>8,06</a:t>
            </a:r>
          </a:p>
          <a:p>
            <a:pPr algn="r"/>
            <a:r>
              <a:rPr lang="en-US" sz="800" dirty="0">
                <a:solidFill>
                  <a:schemeClr val="accent6"/>
                </a:solidFill>
              </a:rPr>
              <a:t>3.17</a:t>
            </a:r>
          </a:p>
        </p:txBody>
      </p:sp>
      <p:sp>
        <p:nvSpPr>
          <p:cNvPr id="31" name="Rectangle 39">
            <a:extLst>
              <a:ext uri="{FF2B5EF4-FFF2-40B4-BE49-F238E27FC236}">
                <a16:creationId xmlns:a16="http://schemas.microsoft.com/office/drawing/2014/main" id="{3EB706A5-E7DD-4664-AC07-AA2818ECF639}"/>
              </a:ext>
            </a:extLst>
          </p:cNvPr>
          <p:cNvSpPr/>
          <p:nvPr/>
        </p:nvSpPr>
        <p:spPr bwMode="gray">
          <a:xfrm>
            <a:off x="9357295"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en-US" sz="800" dirty="0">
                <a:solidFill>
                  <a:schemeClr val="accent6"/>
                </a:solidFill>
              </a:rPr>
              <a:t>9,06</a:t>
            </a:r>
          </a:p>
          <a:p>
            <a:pPr algn="l"/>
            <a:r>
              <a:rPr lang="en-US" sz="800" dirty="0">
                <a:solidFill>
                  <a:schemeClr val="accent6"/>
                </a:solidFill>
              </a:rPr>
              <a:t>3.57</a:t>
            </a:r>
          </a:p>
        </p:txBody>
      </p:sp>
      <p:sp>
        <p:nvSpPr>
          <p:cNvPr id="32" name="Rectangle 40">
            <a:extLst>
              <a:ext uri="{FF2B5EF4-FFF2-40B4-BE49-F238E27FC236}">
                <a16:creationId xmlns:a16="http://schemas.microsoft.com/office/drawing/2014/main" id="{0CEA38EB-15DA-4315-B121-98AED65AE644}"/>
              </a:ext>
            </a:extLst>
          </p:cNvPr>
          <p:cNvSpPr/>
          <p:nvPr/>
        </p:nvSpPr>
        <p:spPr bwMode="gray">
          <a:xfrm>
            <a:off x="1139837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en-US" sz="800" dirty="0">
                <a:solidFill>
                  <a:schemeClr val="accent6"/>
                </a:solidFill>
              </a:rPr>
              <a:t>15,80</a:t>
            </a:r>
          </a:p>
          <a:p>
            <a:pPr algn="r"/>
            <a:r>
              <a:rPr lang="en-US" sz="800" dirty="0">
                <a:solidFill>
                  <a:schemeClr val="accent6"/>
                </a:solidFill>
              </a:rPr>
              <a:t>6.22</a:t>
            </a:r>
          </a:p>
        </p:txBody>
      </p:sp>
      <p:sp>
        <p:nvSpPr>
          <p:cNvPr id="33" name="Rectangle 41">
            <a:extLst>
              <a:ext uri="{FF2B5EF4-FFF2-40B4-BE49-F238E27FC236}">
                <a16:creationId xmlns:a16="http://schemas.microsoft.com/office/drawing/2014/main" id="{8FF48A7A-65C8-4608-9D6E-41E8CBB0A786}"/>
              </a:ext>
            </a:extLst>
          </p:cNvPr>
          <p:cNvSpPr/>
          <p:nvPr/>
        </p:nvSpPr>
        <p:spPr bwMode="gray">
          <a:xfrm>
            <a:off x="11808730" y="1741637"/>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a:r>
              <a:rPr lang="en-US" sz="800" dirty="0">
                <a:solidFill>
                  <a:schemeClr val="accent6"/>
                </a:solidFill>
              </a:rPr>
              <a:t>4,70</a:t>
            </a:r>
          </a:p>
          <a:p>
            <a:pPr algn="r"/>
            <a:r>
              <a:rPr lang="en-US" sz="800" dirty="0">
                <a:solidFill>
                  <a:schemeClr val="accent6"/>
                </a:solidFill>
              </a:rPr>
              <a:t>1.85</a:t>
            </a:r>
          </a:p>
        </p:txBody>
      </p:sp>
      <p:sp>
        <p:nvSpPr>
          <p:cNvPr id="34" name="Rectangle 43">
            <a:extLst>
              <a:ext uri="{FF2B5EF4-FFF2-40B4-BE49-F238E27FC236}">
                <a16:creationId xmlns:a16="http://schemas.microsoft.com/office/drawing/2014/main" id="{A9DE601C-51E7-4485-9ED3-4C3A6503C040}"/>
              </a:ext>
            </a:extLst>
          </p:cNvPr>
          <p:cNvSpPr/>
          <p:nvPr/>
        </p:nvSpPr>
        <p:spPr bwMode="gray">
          <a:xfrm>
            <a:off x="11808730" y="62442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marL="0" marR="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accent6"/>
                </a:solidFill>
              </a:rPr>
              <a:t>8,49</a:t>
            </a:r>
          </a:p>
          <a:p>
            <a:pPr algn="r"/>
            <a:r>
              <a:rPr lang="en-US" sz="800" dirty="0">
                <a:solidFill>
                  <a:schemeClr val="accent6"/>
                </a:solidFill>
              </a:rPr>
              <a:t>3.34</a:t>
            </a:r>
          </a:p>
        </p:txBody>
      </p:sp>
      <p:sp>
        <p:nvSpPr>
          <p:cNvPr id="35" name="Rectangle 44">
            <a:extLst>
              <a:ext uri="{FF2B5EF4-FFF2-40B4-BE49-F238E27FC236}">
                <a16:creationId xmlns:a16="http://schemas.microsoft.com/office/drawing/2014/main" id="{46094D44-84B7-41A6-B3CA-B30EFE0D9876}"/>
              </a:ext>
            </a:extLst>
          </p:cNvPr>
          <p:cNvSpPr/>
          <p:nvPr/>
        </p:nvSpPr>
        <p:spPr bwMode="gray">
          <a:xfrm>
            <a:off x="11808730" y="42899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a:r>
              <a:rPr lang="en-US" sz="800" dirty="0">
                <a:solidFill>
                  <a:schemeClr val="accent6"/>
                </a:solidFill>
              </a:rPr>
              <a:t>2,40</a:t>
            </a:r>
          </a:p>
          <a:p>
            <a:pPr algn="r"/>
            <a:r>
              <a:rPr lang="en-US" sz="800" dirty="0">
                <a:solidFill>
                  <a:schemeClr val="accent6"/>
                </a:solidFill>
              </a:rPr>
              <a:t>0.94</a:t>
            </a:r>
          </a:p>
        </p:txBody>
      </p:sp>
      <p:cxnSp>
        <p:nvCxnSpPr>
          <p:cNvPr id="36" name="Straight Connector 47">
            <a:extLst>
              <a:ext uri="{FF2B5EF4-FFF2-40B4-BE49-F238E27FC236}">
                <a16:creationId xmlns:a16="http://schemas.microsoft.com/office/drawing/2014/main" id="{02BB4E6C-C5A4-4D50-8FA4-0A9E52254DCD}"/>
              </a:ext>
            </a:extLst>
          </p:cNvPr>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7" name="Rectangle 68">
            <a:extLst>
              <a:ext uri="{FF2B5EF4-FFF2-40B4-BE49-F238E27FC236}">
                <a16:creationId xmlns:a16="http://schemas.microsoft.com/office/drawing/2014/main" id="{26F3AF36-8684-40D6-A538-B0726B544485}"/>
              </a:ext>
            </a:extLst>
          </p:cNvPr>
          <p:cNvSpPr/>
          <p:nvPr/>
        </p:nvSpPr>
        <p:spPr bwMode="gray">
          <a:xfrm>
            <a:off x="11808730" y="369436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marL="0" marR="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accent6"/>
                </a:solidFill>
              </a:rPr>
              <a:t>1,40</a:t>
            </a:r>
          </a:p>
          <a:p>
            <a:pPr algn="r"/>
            <a:r>
              <a:rPr lang="en-US" sz="800" dirty="0">
                <a:solidFill>
                  <a:schemeClr val="accent6"/>
                </a:solidFill>
              </a:rPr>
              <a:t>0.55</a:t>
            </a:r>
          </a:p>
        </p:txBody>
      </p:sp>
      <p:cxnSp>
        <p:nvCxnSpPr>
          <p:cNvPr id="38" name="Straight Connector 42">
            <a:extLst>
              <a:ext uri="{FF2B5EF4-FFF2-40B4-BE49-F238E27FC236}">
                <a16:creationId xmlns:a16="http://schemas.microsoft.com/office/drawing/2014/main" id="{71AF7CB7-AD13-42AB-A1B0-13D7E9E5D1AD}"/>
              </a:ext>
            </a:extLst>
          </p:cNvPr>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46">
            <a:extLst>
              <a:ext uri="{FF2B5EF4-FFF2-40B4-BE49-F238E27FC236}">
                <a16:creationId xmlns:a16="http://schemas.microsoft.com/office/drawing/2014/main" id="{18527016-3752-4F12-B1F7-67463AE30F0A}"/>
              </a:ext>
            </a:extLst>
          </p:cNvPr>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 name="Straight Connector 49">
            <a:extLst>
              <a:ext uri="{FF2B5EF4-FFF2-40B4-BE49-F238E27FC236}">
                <a16:creationId xmlns:a16="http://schemas.microsoft.com/office/drawing/2014/main" id="{BDBB3794-18C9-490A-AD3B-DA83054B814B}"/>
              </a:ext>
            </a:extLst>
          </p:cNvPr>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 name="Straight Connector 51">
            <a:extLst>
              <a:ext uri="{FF2B5EF4-FFF2-40B4-BE49-F238E27FC236}">
                <a16:creationId xmlns:a16="http://schemas.microsoft.com/office/drawing/2014/main" id="{B816B5F8-CF77-4E1A-BABE-512302B1A0D2}"/>
              </a:ext>
            </a:extLst>
          </p:cNvPr>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 name="Straight Connector 53">
            <a:extLst>
              <a:ext uri="{FF2B5EF4-FFF2-40B4-BE49-F238E27FC236}">
                <a16:creationId xmlns:a16="http://schemas.microsoft.com/office/drawing/2014/main" id="{4997501F-576C-4BDD-8374-541A268A9A0C}"/>
              </a:ext>
            </a:extLst>
          </p:cNvPr>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 name="Straight Connector 55">
            <a:extLst>
              <a:ext uri="{FF2B5EF4-FFF2-40B4-BE49-F238E27FC236}">
                <a16:creationId xmlns:a16="http://schemas.microsoft.com/office/drawing/2014/main" id="{1E07D27F-542F-4BF1-BD4E-5D0ABF3FC27E}"/>
              </a:ext>
            </a:extLst>
          </p:cNvPr>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4" name="Straight Connector 57">
            <a:extLst>
              <a:ext uri="{FF2B5EF4-FFF2-40B4-BE49-F238E27FC236}">
                <a16:creationId xmlns:a16="http://schemas.microsoft.com/office/drawing/2014/main" id="{7C4B6616-9982-4271-9C83-8C2709B25829}"/>
              </a:ext>
            </a:extLst>
          </p:cNvPr>
          <p:cNvCxnSpPr/>
          <p:nvPr userDrawn="1"/>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5" name="Straight Connector 15">
            <a:extLst>
              <a:ext uri="{FF2B5EF4-FFF2-40B4-BE49-F238E27FC236}">
                <a16:creationId xmlns:a16="http://schemas.microsoft.com/office/drawing/2014/main" id="{81ED2AF4-CEE1-47D5-A8FA-359578C9A78A}"/>
              </a:ext>
            </a:extLst>
          </p:cNvPr>
          <p:cNvCxnSpPr/>
          <p:nvPr userDrawn="1"/>
        </p:nvCxnSpPr>
        <p:spPr bwMode="gray">
          <a:xfrm flipV="1">
            <a:off x="6380857" y="0"/>
            <a:ext cx="0" cy="685800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6" name="Rectangle 37">
            <a:extLst>
              <a:ext uri="{FF2B5EF4-FFF2-40B4-BE49-F238E27FC236}">
                <a16:creationId xmlns:a16="http://schemas.microsoft.com/office/drawing/2014/main" id="{C76E22D6-8B09-4480-9D97-15EB68579E39}"/>
              </a:ext>
            </a:extLst>
          </p:cNvPr>
          <p:cNvSpPr/>
          <p:nvPr userDrawn="1"/>
        </p:nvSpPr>
        <p:spPr bwMode="gray">
          <a:xfrm>
            <a:off x="6181724" y="26194"/>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en-US" sz="600" dirty="0">
                <a:solidFill>
                  <a:schemeClr val="tx2"/>
                </a:solidFill>
              </a:rPr>
              <a:t>0,80</a:t>
            </a:r>
          </a:p>
        </p:txBody>
      </p:sp>
      <p:sp>
        <p:nvSpPr>
          <p:cNvPr id="47" name="Rectangle 37">
            <a:extLst>
              <a:ext uri="{FF2B5EF4-FFF2-40B4-BE49-F238E27FC236}">
                <a16:creationId xmlns:a16="http://schemas.microsoft.com/office/drawing/2014/main" id="{E3F916D4-4365-44A4-89E0-D6D212724E08}"/>
              </a:ext>
            </a:extLst>
          </p:cNvPr>
          <p:cNvSpPr/>
          <p:nvPr userDrawn="1"/>
        </p:nvSpPr>
        <p:spPr bwMode="gray">
          <a:xfrm>
            <a:off x="6360320" y="26194"/>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en-US" sz="600" dirty="0">
                <a:solidFill>
                  <a:schemeClr val="tx2"/>
                </a:solidFill>
              </a:rPr>
              <a:t>0.31</a:t>
            </a:r>
          </a:p>
        </p:txBody>
      </p:sp>
      <p:sp>
        <p:nvSpPr>
          <p:cNvPr id="48" name="Rectangle 37">
            <a:extLst>
              <a:ext uri="{FF2B5EF4-FFF2-40B4-BE49-F238E27FC236}">
                <a16:creationId xmlns:a16="http://schemas.microsoft.com/office/drawing/2014/main" id="{E0CF6D65-5F90-4F43-ACCF-57A986F86BE8}"/>
              </a:ext>
            </a:extLst>
          </p:cNvPr>
          <p:cNvSpPr/>
          <p:nvPr userDrawn="1"/>
        </p:nvSpPr>
        <p:spPr bwMode="gray">
          <a:xfrm>
            <a:off x="11965895" y="4006695"/>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en-US" sz="600" dirty="0">
                <a:solidFill>
                  <a:schemeClr val="tx2"/>
                </a:solidFill>
              </a:rPr>
              <a:t>1,90</a:t>
            </a:r>
          </a:p>
        </p:txBody>
      </p:sp>
      <p:sp>
        <p:nvSpPr>
          <p:cNvPr id="49" name="Rectangle 37">
            <a:extLst>
              <a:ext uri="{FF2B5EF4-FFF2-40B4-BE49-F238E27FC236}">
                <a16:creationId xmlns:a16="http://schemas.microsoft.com/office/drawing/2014/main" id="{646ED84F-4640-449E-B9A7-95E9EDB8056A}"/>
              </a:ext>
            </a:extLst>
          </p:cNvPr>
          <p:cNvSpPr/>
          <p:nvPr userDrawn="1"/>
        </p:nvSpPr>
        <p:spPr bwMode="gray">
          <a:xfrm>
            <a:off x="11956369" y="4129086"/>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en-US" sz="600" dirty="0">
                <a:solidFill>
                  <a:schemeClr val="tx2"/>
                </a:solidFill>
              </a:rPr>
              <a:t>0.75</a:t>
            </a:r>
          </a:p>
        </p:txBody>
      </p:sp>
      <p:cxnSp>
        <p:nvCxnSpPr>
          <p:cNvPr id="50" name="Straight Connector 27">
            <a:extLst>
              <a:ext uri="{FF2B5EF4-FFF2-40B4-BE49-F238E27FC236}">
                <a16:creationId xmlns:a16="http://schemas.microsoft.com/office/drawing/2014/main" id="{D4EDC9D4-15D9-4C59-B5BE-C16442881DC7}"/>
              </a:ext>
            </a:extLst>
          </p:cNvPr>
          <p:cNvCxnSpPr/>
          <p:nvPr userDrawn="1"/>
        </p:nvCxnSpPr>
        <p:spPr bwMode="gray">
          <a:xfrm>
            <a:off x="0" y="4113076"/>
            <a:ext cx="121904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Rectangle 17">
            <a:extLst>
              <a:ext uri="{FF2B5EF4-FFF2-40B4-BE49-F238E27FC236}">
                <a16:creationId xmlns:a16="http://schemas.microsoft.com/office/drawing/2014/main" id="{5BA2530C-007D-427A-9179-4C1EE572BC92}"/>
              </a:ext>
            </a:extLst>
          </p:cNvPr>
          <p:cNvSpPr/>
          <p:nvPr/>
        </p:nvSpPr>
        <p:spPr bwMode="gray">
          <a:xfrm>
            <a:off x="982664" y="1735137"/>
            <a:ext cx="10800000" cy="4749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strict your content to this area</a:t>
            </a:r>
          </a:p>
        </p:txBody>
      </p:sp>
    </p:spTree>
    <p:custDataLst>
      <p:tags r:id="rId1"/>
    </p:custDataLst>
    <p:extLst>
      <p:ext uri="{BB962C8B-B14F-4D97-AF65-F5344CB8AC3E}">
        <p14:creationId xmlns:p14="http://schemas.microsoft.com/office/powerpoint/2010/main" val="350332428"/>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0">
              <a:srgbClr val="00BCFF"/>
            </a:gs>
            <a:gs pos="100000">
              <a:schemeClr val="accent1">
                <a:lumMod val="75000"/>
                <a:lumOff val="25000"/>
              </a:schemeClr>
            </a:gs>
          </a:gsLst>
          <a:lin ang="6120000" scaled="1"/>
        </a:gradFill>
        <a:effectLst/>
      </p:bgPr>
    </p:bg>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dirty="0" err="1"/>
              <a:t>Logistica</a:t>
            </a:r>
            <a:r>
              <a:rPr lang="en-US" dirty="0"/>
              <a:t> - </a:t>
            </a:r>
            <a:r>
              <a:rPr lang="en-US" dirty="0" err="1"/>
              <a:t>RoundUp</a:t>
            </a:r>
            <a:endParaRPr lang="en-US" dirty="0"/>
          </a:p>
        </p:txBody>
      </p:sp>
      <p:sp>
        <p:nvSpPr>
          <p:cNvPr id="2" name="Title 1"/>
          <p:cNvSpPr>
            <a:spLocks noGrp="1"/>
          </p:cNvSpPr>
          <p:nvPr>
            <p:ph type="title"/>
          </p:nvPr>
        </p:nvSpPr>
        <p:spPr/>
        <p:txBody>
          <a:bodyPr/>
          <a:lstStyle/>
          <a:p>
            <a:r>
              <a:rPr lang="en-US" dirty="0"/>
              <a:t>Distribution CP</a:t>
            </a:r>
          </a:p>
        </p:txBody>
      </p:sp>
      <p:sp>
        <p:nvSpPr>
          <p:cNvPr id="3" name="Text Placeholder 2"/>
          <p:cNvSpPr>
            <a:spLocks noGrp="1"/>
          </p:cNvSpPr>
          <p:nvPr>
            <p:ph sz="quarter" idx="14"/>
          </p:nvPr>
        </p:nvSpPr>
        <p:spPr>
          <a:xfrm>
            <a:off x="981820" y="1732751"/>
            <a:ext cx="10798461" cy="2222637"/>
          </a:xfrm>
        </p:spPr>
        <p:txBody>
          <a:bodyPr/>
          <a:lstStyle/>
          <a:p>
            <a:r>
              <a:rPr lang="en-US" dirty="0" err="1"/>
              <a:t>Responsabilidades</a:t>
            </a:r>
            <a:r>
              <a:rPr lang="en-US" dirty="0"/>
              <a:t>:</a:t>
            </a:r>
          </a:p>
          <a:p>
            <a:pPr marL="285750" indent="-285750">
              <a:buFontTx/>
              <a:buChar char="-"/>
            </a:pPr>
            <a:r>
              <a:rPr lang="en-US" dirty="0"/>
              <a:t>Centro </a:t>
            </a:r>
            <a:r>
              <a:rPr lang="en-US" dirty="0" err="1"/>
              <a:t>Logisticos</a:t>
            </a:r>
            <a:r>
              <a:rPr lang="en-US" dirty="0"/>
              <a:t> Sul do Brasil (</a:t>
            </a:r>
            <a:r>
              <a:rPr lang="en-US" dirty="0" err="1"/>
              <a:t>Cachoeirinha</a:t>
            </a:r>
            <a:r>
              <a:rPr lang="en-US" dirty="0"/>
              <a:t> e Londrina)</a:t>
            </a:r>
          </a:p>
          <a:p>
            <a:pPr marL="285750" indent="-285750">
              <a:buFontTx/>
              <a:buChar char="-"/>
            </a:pPr>
            <a:r>
              <a:rPr lang="en-US" dirty="0" err="1"/>
              <a:t>Processo</a:t>
            </a:r>
            <a:r>
              <a:rPr lang="en-US" dirty="0"/>
              <a:t>  </a:t>
            </a:r>
            <a:r>
              <a:rPr lang="en-US" dirty="0" err="1"/>
              <a:t>Vira</a:t>
            </a:r>
            <a:r>
              <a:rPr lang="en-US" dirty="0"/>
              <a:t> ( São José – </a:t>
            </a:r>
            <a:r>
              <a:rPr lang="en-US" dirty="0" err="1"/>
              <a:t>Guararema</a:t>
            </a:r>
            <a:r>
              <a:rPr lang="en-US" dirty="0"/>
              <a:t>)</a:t>
            </a:r>
          </a:p>
          <a:p>
            <a:pPr marL="285750" indent="-285750">
              <a:buFontTx/>
              <a:buChar char="-"/>
            </a:pPr>
            <a:r>
              <a:rPr lang="en-US" dirty="0" err="1"/>
              <a:t>Transferencias</a:t>
            </a:r>
            <a:r>
              <a:rPr lang="en-US" dirty="0"/>
              <a:t> </a:t>
            </a:r>
            <a:r>
              <a:rPr lang="en-US" dirty="0" err="1"/>
              <a:t>Diretas</a:t>
            </a:r>
            <a:endParaRPr lang="en-US" dirty="0"/>
          </a:p>
        </p:txBody>
      </p:sp>
      <p:sp>
        <p:nvSpPr>
          <p:cNvPr id="13" name="Fußzeilenplatzhalter 12"/>
          <p:cNvSpPr>
            <a:spLocks noGrp="1"/>
          </p:cNvSpPr>
          <p:nvPr>
            <p:ph type="ftr" sz="quarter" idx="11"/>
          </p:nvPr>
        </p:nvSpPr>
        <p:spPr/>
        <p:txBody>
          <a:bodyPr/>
          <a:lstStyle/>
          <a:p>
            <a:r>
              <a:rPr lang="en-US"/>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3</a:t>
            </a:fld>
            <a:endParaRPr lang="en-US" dirty="0"/>
          </a:p>
        </p:txBody>
      </p:sp>
      <p:sp>
        <p:nvSpPr>
          <p:cNvPr id="69" name="Text Placeholder 2">
            <a:extLst>
              <a:ext uri="{FF2B5EF4-FFF2-40B4-BE49-F238E27FC236}">
                <a16:creationId xmlns:a16="http://schemas.microsoft.com/office/drawing/2014/main" id="{ACF227C7-0827-404D-9979-7A5BE0874360}"/>
              </a:ext>
            </a:extLst>
          </p:cNvPr>
          <p:cNvSpPr txBox="1">
            <a:spLocks/>
          </p:cNvSpPr>
          <p:nvPr/>
        </p:nvSpPr>
        <p:spPr bwMode="gray">
          <a:xfrm>
            <a:off x="935109" y="3742783"/>
            <a:ext cx="6213977" cy="2222637"/>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r>
              <a:rPr lang="en-US" dirty="0" err="1"/>
              <a:t>Projetos</a:t>
            </a:r>
            <a:r>
              <a:rPr lang="en-US" dirty="0"/>
              <a:t> \ </a:t>
            </a:r>
            <a:r>
              <a:rPr lang="en-US" dirty="0" err="1"/>
              <a:t>Iniciativas</a:t>
            </a:r>
            <a:r>
              <a:rPr lang="en-US" dirty="0"/>
              <a:t>:</a:t>
            </a:r>
          </a:p>
          <a:p>
            <a:pPr marL="285750" indent="-285750">
              <a:buFontTx/>
              <a:buChar char="-"/>
            </a:pPr>
            <a:r>
              <a:rPr lang="en-US" dirty="0"/>
              <a:t>Etapa de </a:t>
            </a:r>
            <a:r>
              <a:rPr lang="en-US" dirty="0" err="1"/>
              <a:t>classificação</a:t>
            </a:r>
            <a:r>
              <a:rPr lang="en-US" dirty="0"/>
              <a:t> do RFI</a:t>
            </a:r>
          </a:p>
          <a:p>
            <a:pPr marL="285750" indent="-285750">
              <a:buFontTx/>
              <a:buChar char="-"/>
            </a:pPr>
            <a:r>
              <a:rPr lang="en-US" dirty="0" err="1"/>
              <a:t>Cadastro</a:t>
            </a:r>
            <a:r>
              <a:rPr lang="en-US" dirty="0"/>
              <a:t> de </a:t>
            </a:r>
            <a:r>
              <a:rPr lang="en-US" dirty="0" err="1"/>
              <a:t>Rotas</a:t>
            </a:r>
            <a:endParaRPr lang="en-US" dirty="0"/>
          </a:p>
          <a:p>
            <a:pPr marL="285750" indent="-285750">
              <a:buFontTx/>
              <a:buChar char="-"/>
            </a:pPr>
            <a:r>
              <a:rPr lang="en-US" dirty="0" err="1"/>
              <a:t>Automação</a:t>
            </a:r>
            <a:r>
              <a:rPr lang="en-US" dirty="0"/>
              <a:t> e-mail</a:t>
            </a:r>
          </a:p>
        </p:txBody>
      </p:sp>
    </p:spTree>
    <p:extLst>
      <p:ext uri="{BB962C8B-B14F-4D97-AF65-F5344CB8AC3E}">
        <p14:creationId xmlns:p14="http://schemas.microsoft.com/office/powerpoint/2010/main" val="2909844367"/>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0">
              <a:srgbClr val="00BCFF"/>
            </a:gs>
            <a:gs pos="100000">
              <a:schemeClr val="accent1">
                <a:lumMod val="75000"/>
                <a:lumOff val="25000"/>
              </a:schemeClr>
            </a:gs>
          </a:gsLst>
          <a:lin ang="6120000" scaled="1"/>
        </a:gradFill>
        <a:effectLst/>
      </p:bgPr>
    </p:bg>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dirty="0" err="1"/>
              <a:t>Logistica</a:t>
            </a:r>
            <a:r>
              <a:rPr lang="en-US" dirty="0"/>
              <a:t> - </a:t>
            </a:r>
            <a:r>
              <a:rPr lang="en-US" dirty="0" err="1"/>
              <a:t>RoundUp</a:t>
            </a:r>
            <a:endParaRPr lang="en-US" dirty="0"/>
          </a:p>
        </p:txBody>
      </p:sp>
      <p:sp>
        <p:nvSpPr>
          <p:cNvPr id="2" name="Title 1"/>
          <p:cNvSpPr>
            <a:spLocks noGrp="1"/>
          </p:cNvSpPr>
          <p:nvPr>
            <p:ph type="title"/>
          </p:nvPr>
        </p:nvSpPr>
        <p:spPr/>
        <p:txBody>
          <a:bodyPr/>
          <a:lstStyle/>
          <a:p>
            <a:r>
              <a:rPr lang="en-US" dirty="0"/>
              <a:t>Distribution CP</a:t>
            </a:r>
          </a:p>
        </p:txBody>
      </p:sp>
      <p:sp>
        <p:nvSpPr>
          <p:cNvPr id="3" name="Text Placeholder 2"/>
          <p:cNvSpPr>
            <a:spLocks noGrp="1"/>
          </p:cNvSpPr>
          <p:nvPr>
            <p:ph sz="quarter" idx="14"/>
          </p:nvPr>
        </p:nvSpPr>
        <p:spPr>
          <a:xfrm>
            <a:off x="981820" y="1732751"/>
            <a:ext cx="10798461" cy="2222637"/>
          </a:xfrm>
        </p:spPr>
        <p:txBody>
          <a:bodyPr/>
          <a:lstStyle/>
          <a:p>
            <a:r>
              <a:rPr lang="en-US" dirty="0" err="1"/>
              <a:t>Responsabilidades</a:t>
            </a:r>
            <a:r>
              <a:rPr lang="en-US" dirty="0"/>
              <a:t>:</a:t>
            </a:r>
          </a:p>
          <a:p>
            <a:pPr marL="285750" indent="-285750">
              <a:buFontTx/>
              <a:buChar char="-"/>
            </a:pPr>
            <a:r>
              <a:rPr lang="en-US" dirty="0"/>
              <a:t>Centro </a:t>
            </a:r>
            <a:r>
              <a:rPr lang="en-US" dirty="0" err="1"/>
              <a:t>Logisticos</a:t>
            </a:r>
            <a:r>
              <a:rPr lang="en-US" dirty="0"/>
              <a:t> Sul do Brasil (</a:t>
            </a:r>
            <a:r>
              <a:rPr lang="en-US" dirty="0" err="1"/>
              <a:t>Cachoeirinha</a:t>
            </a:r>
            <a:r>
              <a:rPr lang="en-US" dirty="0"/>
              <a:t> e Londrina)</a:t>
            </a:r>
          </a:p>
          <a:p>
            <a:pPr marL="285750" indent="-285750">
              <a:buFontTx/>
              <a:buChar char="-"/>
            </a:pPr>
            <a:r>
              <a:rPr lang="en-US" dirty="0" err="1"/>
              <a:t>Processo</a:t>
            </a:r>
            <a:r>
              <a:rPr lang="en-US" dirty="0"/>
              <a:t>  </a:t>
            </a:r>
            <a:r>
              <a:rPr lang="en-US" dirty="0" err="1"/>
              <a:t>Vira</a:t>
            </a:r>
            <a:r>
              <a:rPr lang="en-US" dirty="0"/>
              <a:t> ( São José – </a:t>
            </a:r>
            <a:r>
              <a:rPr lang="en-US" dirty="0" err="1"/>
              <a:t>Guararema</a:t>
            </a:r>
            <a:r>
              <a:rPr lang="en-US" dirty="0"/>
              <a:t>)</a:t>
            </a:r>
          </a:p>
          <a:p>
            <a:pPr marL="285750" indent="-285750">
              <a:buFontTx/>
              <a:buChar char="-"/>
            </a:pPr>
            <a:r>
              <a:rPr lang="en-US" dirty="0" err="1"/>
              <a:t>Transferencias</a:t>
            </a:r>
            <a:r>
              <a:rPr lang="en-US" dirty="0"/>
              <a:t> </a:t>
            </a:r>
            <a:r>
              <a:rPr lang="en-US" dirty="0" err="1"/>
              <a:t>Diretas</a:t>
            </a:r>
            <a:endParaRPr lang="en-US" dirty="0"/>
          </a:p>
        </p:txBody>
      </p:sp>
      <p:sp>
        <p:nvSpPr>
          <p:cNvPr id="13" name="Fußzeilenplatzhalter 12"/>
          <p:cNvSpPr>
            <a:spLocks noGrp="1"/>
          </p:cNvSpPr>
          <p:nvPr>
            <p:ph type="ftr" sz="quarter" idx="11"/>
          </p:nvPr>
        </p:nvSpPr>
        <p:spPr/>
        <p:txBody>
          <a:bodyPr/>
          <a:lstStyle/>
          <a:p>
            <a:r>
              <a:rPr lang="en-US"/>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4</a:t>
            </a:fld>
            <a:endParaRPr lang="en-US" dirty="0"/>
          </a:p>
        </p:txBody>
      </p:sp>
      <p:grpSp>
        <p:nvGrpSpPr>
          <p:cNvPr id="7" name="组合 50">
            <a:extLst>
              <a:ext uri="{FF2B5EF4-FFF2-40B4-BE49-F238E27FC236}">
                <a16:creationId xmlns:a16="http://schemas.microsoft.com/office/drawing/2014/main" id="{446649DD-850A-4A66-8868-A91B7B7BDBCC}"/>
              </a:ext>
            </a:extLst>
          </p:cNvPr>
          <p:cNvGrpSpPr/>
          <p:nvPr/>
        </p:nvGrpSpPr>
        <p:grpSpPr>
          <a:xfrm>
            <a:off x="5911688" y="2482173"/>
            <a:ext cx="6021591" cy="3910418"/>
            <a:chOff x="503937" y="1273175"/>
            <a:chExt cx="8348371" cy="5421429"/>
          </a:xfrm>
        </p:grpSpPr>
        <p:grpSp>
          <p:nvGrpSpPr>
            <p:cNvPr id="8" name="Group 22">
              <a:extLst>
                <a:ext uri="{FF2B5EF4-FFF2-40B4-BE49-F238E27FC236}">
                  <a16:creationId xmlns:a16="http://schemas.microsoft.com/office/drawing/2014/main" id="{AA08AA30-B35E-4A27-B3CC-E3A8049B107E}"/>
                </a:ext>
              </a:extLst>
            </p:cNvPr>
            <p:cNvGrpSpPr>
              <a:grpSpLocks/>
            </p:cNvGrpSpPr>
            <p:nvPr/>
          </p:nvGrpSpPr>
          <p:grpSpPr bwMode="auto">
            <a:xfrm>
              <a:off x="1608287" y="1273175"/>
              <a:ext cx="5041900" cy="5038725"/>
              <a:chOff x="265" y="802"/>
              <a:chExt cx="3176" cy="3174"/>
            </a:xfrm>
          </p:grpSpPr>
          <p:sp>
            <p:nvSpPr>
              <p:cNvPr id="41" name="Freeform 23">
                <a:extLst>
                  <a:ext uri="{FF2B5EF4-FFF2-40B4-BE49-F238E27FC236}">
                    <a16:creationId xmlns:a16="http://schemas.microsoft.com/office/drawing/2014/main" id="{28467F0D-8AAA-461F-9237-A1ECF0BD1A03}"/>
                  </a:ext>
                </a:extLst>
              </p:cNvPr>
              <p:cNvSpPr>
                <a:spLocks/>
              </p:cNvSpPr>
              <p:nvPr/>
            </p:nvSpPr>
            <p:spPr bwMode="auto">
              <a:xfrm>
                <a:off x="848" y="1883"/>
                <a:ext cx="567" cy="471"/>
              </a:xfrm>
              <a:custGeom>
                <a:avLst/>
                <a:gdLst/>
                <a:ahLst/>
                <a:cxnLst>
                  <a:cxn ang="0">
                    <a:pos x="2645" y="2550"/>
                  </a:cxn>
                  <a:cxn ang="0">
                    <a:pos x="2684" y="2454"/>
                  </a:cxn>
                  <a:cxn ang="0">
                    <a:pos x="2779" y="2418"/>
                  </a:cxn>
                  <a:cxn ang="0">
                    <a:pos x="2858" y="2231"/>
                  </a:cxn>
                  <a:cxn ang="0">
                    <a:pos x="2956" y="2159"/>
                  </a:cxn>
                  <a:cxn ang="0">
                    <a:pos x="3027" y="2003"/>
                  </a:cxn>
                  <a:cxn ang="0">
                    <a:pos x="3015" y="1836"/>
                  </a:cxn>
                  <a:cxn ang="0">
                    <a:pos x="2944" y="1716"/>
                  </a:cxn>
                  <a:cxn ang="0">
                    <a:pos x="2921" y="1608"/>
                  </a:cxn>
                  <a:cxn ang="0">
                    <a:pos x="3015" y="1536"/>
                  </a:cxn>
                  <a:cxn ang="0">
                    <a:pos x="2988" y="1417"/>
                  </a:cxn>
                  <a:cxn ang="0">
                    <a:pos x="2858" y="1405"/>
                  </a:cxn>
                  <a:cxn ang="0">
                    <a:pos x="2775" y="1341"/>
                  </a:cxn>
                  <a:cxn ang="0">
                    <a:pos x="2539" y="1345"/>
                  </a:cxn>
                  <a:cxn ang="0">
                    <a:pos x="2318" y="1341"/>
                  </a:cxn>
                  <a:cxn ang="0">
                    <a:pos x="2291" y="962"/>
                  </a:cxn>
                  <a:cxn ang="0">
                    <a:pos x="2342" y="854"/>
                  </a:cxn>
                  <a:cxn ang="0">
                    <a:pos x="2271" y="591"/>
                  </a:cxn>
                  <a:cxn ang="0">
                    <a:pos x="2314" y="479"/>
                  </a:cxn>
                  <a:cxn ang="0">
                    <a:pos x="2318" y="360"/>
                  </a:cxn>
                  <a:cxn ang="0">
                    <a:pos x="2198" y="334"/>
                  </a:cxn>
                  <a:cxn ang="0">
                    <a:pos x="2102" y="394"/>
                  </a:cxn>
                  <a:cxn ang="0">
                    <a:pos x="1949" y="204"/>
                  </a:cxn>
                  <a:cxn ang="0">
                    <a:pos x="1824" y="114"/>
                  </a:cxn>
                  <a:cxn ang="0">
                    <a:pos x="1725" y="0"/>
                  </a:cxn>
                  <a:cxn ang="0">
                    <a:pos x="1484" y="16"/>
                  </a:cxn>
                  <a:cxn ang="0">
                    <a:pos x="1241" y="180"/>
                  </a:cxn>
                  <a:cxn ang="0">
                    <a:pos x="1244" y="297"/>
                  </a:cxn>
                  <a:cxn ang="0">
                    <a:pos x="1185" y="411"/>
                  </a:cxn>
                  <a:cxn ang="0">
                    <a:pos x="990" y="459"/>
                  </a:cxn>
                  <a:cxn ang="0">
                    <a:pos x="855" y="468"/>
                  </a:cxn>
                  <a:cxn ang="0">
                    <a:pos x="771" y="563"/>
                  </a:cxn>
                  <a:cxn ang="0">
                    <a:pos x="676" y="591"/>
                  </a:cxn>
                  <a:cxn ang="0">
                    <a:pos x="428" y="627"/>
                  </a:cxn>
                  <a:cxn ang="0">
                    <a:pos x="158" y="625"/>
                  </a:cxn>
                  <a:cxn ang="0">
                    <a:pos x="110" y="741"/>
                  </a:cxn>
                  <a:cxn ang="0">
                    <a:pos x="0" y="807"/>
                  </a:cxn>
                  <a:cxn ang="0">
                    <a:pos x="62" y="886"/>
                  </a:cxn>
                  <a:cxn ang="0">
                    <a:pos x="153" y="825"/>
                  </a:cxn>
                  <a:cxn ang="0">
                    <a:pos x="300" y="817"/>
                  </a:cxn>
                  <a:cxn ang="0">
                    <a:pos x="452" y="783"/>
                  </a:cxn>
                  <a:cxn ang="0">
                    <a:pos x="542" y="825"/>
                  </a:cxn>
                  <a:cxn ang="0">
                    <a:pos x="603" y="783"/>
                  </a:cxn>
                  <a:cxn ang="0">
                    <a:pos x="674" y="828"/>
                  </a:cxn>
                  <a:cxn ang="0">
                    <a:pos x="660" y="1018"/>
                  </a:cxn>
                  <a:cxn ang="0">
                    <a:pos x="593" y="1161"/>
                  </a:cxn>
                  <a:cxn ang="0">
                    <a:pos x="676" y="1345"/>
                  </a:cxn>
                  <a:cxn ang="0">
                    <a:pos x="629" y="1465"/>
                  </a:cxn>
                  <a:cxn ang="0">
                    <a:pos x="688" y="1596"/>
                  </a:cxn>
                  <a:cxn ang="0">
                    <a:pos x="708" y="1680"/>
                  </a:cxn>
                  <a:cxn ang="0">
                    <a:pos x="838" y="1788"/>
                  </a:cxn>
                  <a:cxn ang="0">
                    <a:pos x="991" y="1896"/>
                  </a:cxn>
                  <a:cxn ang="0">
                    <a:pos x="1038" y="1975"/>
                  </a:cxn>
                  <a:cxn ang="0">
                    <a:pos x="1216" y="2015"/>
                  </a:cxn>
                  <a:cxn ang="0">
                    <a:pos x="1373" y="1999"/>
                  </a:cxn>
                  <a:cxn ang="0">
                    <a:pos x="1539" y="2131"/>
                  </a:cxn>
                  <a:cxn ang="0">
                    <a:pos x="1605" y="2071"/>
                  </a:cxn>
                  <a:cxn ang="0">
                    <a:pos x="1735" y="2243"/>
                  </a:cxn>
                  <a:cxn ang="0">
                    <a:pos x="1999" y="2279"/>
                  </a:cxn>
                  <a:cxn ang="0">
                    <a:pos x="2090" y="2398"/>
                  </a:cxn>
                  <a:cxn ang="0">
                    <a:pos x="2184" y="2458"/>
                  </a:cxn>
                  <a:cxn ang="0">
                    <a:pos x="2460" y="2466"/>
                  </a:cxn>
                  <a:cxn ang="0">
                    <a:pos x="2645" y="2550"/>
                  </a:cxn>
                </a:cxnLst>
                <a:rect l="0" t="0" r="r" b="b"/>
                <a:pathLst>
                  <a:path w="3027" h="2550">
                    <a:moveTo>
                      <a:pt x="2645" y="2550"/>
                    </a:moveTo>
                    <a:lnTo>
                      <a:pt x="2684" y="2454"/>
                    </a:lnTo>
                    <a:lnTo>
                      <a:pt x="2779" y="2418"/>
                    </a:lnTo>
                    <a:lnTo>
                      <a:pt x="2858" y="2231"/>
                    </a:lnTo>
                    <a:lnTo>
                      <a:pt x="2956" y="2159"/>
                    </a:lnTo>
                    <a:lnTo>
                      <a:pt x="3027" y="2003"/>
                    </a:lnTo>
                    <a:lnTo>
                      <a:pt x="3015" y="1836"/>
                    </a:lnTo>
                    <a:lnTo>
                      <a:pt x="2944" y="1716"/>
                    </a:lnTo>
                    <a:lnTo>
                      <a:pt x="2921" y="1608"/>
                    </a:lnTo>
                    <a:lnTo>
                      <a:pt x="3015" y="1536"/>
                    </a:lnTo>
                    <a:lnTo>
                      <a:pt x="2988" y="1417"/>
                    </a:lnTo>
                    <a:lnTo>
                      <a:pt x="2858" y="1405"/>
                    </a:lnTo>
                    <a:lnTo>
                      <a:pt x="2775" y="1341"/>
                    </a:lnTo>
                    <a:lnTo>
                      <a:pt x="2539" y="1345"/>
                    </a:lnTo>
                    <a:lnTo>
                      <a:pt x="2318" y="1341"/>
                    </a:lnTo>
                    <a:lnTo>
                      <a:pt x="2291" y="962"/>
                    </a:lnTo>
                    <a:lnTo>
                      <a:pt x="2342" y="854"/>
                    </a:lnTo>
                    <a:lnTo>
                      <a:pt x="2271" y="591"/>
                    </a:lnTo>
                    <a:lnTo>
                      <a:pt x="2314" y="479"/>
                    </a:lnTo>
                    <a:lnTo>
                      <a:pt x="2318" y="360"/>
                    </a:lnTo>
                    <a:lnTo>
                      <a:pt x="2198" y="334"/>
                    </a:lnTo>
                    <a:lnTo>
                      <a:pt x="2102" y="394"/>
                    </a:lnTo>
                    <a:lnTo>
                      <a:pt x="1949" y="204"/>
                    </a:lnTo>
                    <a:lnTo>
                      <a:pt x="1824" y="114"/>
                    </a:lnTo>
                    <a:lnTo>
                      <a:pt x="1725" y="0"/>
                    </a:lnTo>
                    <a:lnTo>
                      <a:pt x="1484" y="16"/>
                    </a:lnTo>
                    <a:lnTo>
                      <a:pt x="1241" y="180"/>
                    </a:lnTo>
                    <a:lnTo>
                      <a:pt x="1244" y="297"/>
                    </a:lnTo>
                    <a:lnTo>
                      <a:pt x="1185" y="411"/>
                    </a:lnTo>
                    <a:lnTo>
                      <a:pt x="990" y="459"/>
                    </a:lnTo>
                    <a:lnTo>
                      <a:pt x="855" y="468"/>
                    </a:lnTo>
                    <a:lnTo>
                      <a:pt x="771" y="563"/>
                    </a:lnTo>
                    <a:lnTo>
                      <a:pt x="676" y="591"/>
                    </a:lnTo>
                    <a:lnTo>
                      <a:pt x="428" y="627"/>
                    </a:lnTo>
                    <a:lnTo>
                      <a:pt x="158" y="625"/>
                    </a:lnTo>
                    <a:lnTo>
                      <a:pt x="110" y="741"/>
                    </a:lnTo>
                    <a:lnTo>
                      <a:pt x="0" y="807"/>
                    </a:lnTo>
                    <a:lnTo>
                      <a:pt x="62" y="886"/>
                    </a:lnTo>
                    <a:lnTo>
                      <a:pt x="153" y="825"/>
                    </a:lnTo>
                    <a:lnTo>
                      <a:pt x="300" y="817"/>
                    </a:lnTo>
                    <a:lnTo>
                      <a:pt x="452" y="783"/>
                    </a:lnTo>
                    <a:lnTo>
                      <a:pt x="542" y="825"/>
                    </a:lnTo>
                    <a:lnTo>
                      <a:pt x="603" y="783"/>
                    </a:lnTo>
                    <a:lnTo>
                      <a:pt x="674" y="828"/>
                    </a:lnTo>
                    <a:lnTo>
                      <a:pt x="660" y="1018"/>
                    </a:lnTo>
                    <a:lnTo>
                      <a:pt x="593" y="1161"/>
                    </a:lnTo>
                    <a:lnTo>
                      <a:pt x="676" y="1345"/>
                    </a:lnTo>
                    <a:lnTo>
                      <a:pt x="629" y="1465"/>
                    </a:lnTo>
                    <a:lnTo>
                      <a:pt x="688" y="1596"/>
                    </a:lnTo>
                    <a:lnTo>
                      <a:pt x="708" y="1680"/>
                    </a:lnTo>
                    <a:lnTo>
                      <a:pt x="838" y="1788"/>
                    </a:lnTo>
                    <a:lnTo>
                      <a:pt x="991" y="1896"/>
                    </a:lnTo>
                    <a:lnTo>
                      <a:pt x="1038" y="1975"/>
                    </a:lnTo>
                    <a:lnTo>
                      <a:pt x="1216" y="2015"/>
                    </a:lnTo>
                    <a:lnTo>
                      <a:pt x="1373" y="1999"/>
                    </a:lnTo>
                    <a:lnTo>
                      <a:pt x="1539" y="2131"/>
                    </a:lnTo>
                    <a:lnTo>
                      <a:pt x="1605" y="2071"/>
                    </a:lnTo>
                    <a:lnTo>
                      <a:pt x="1735" y="2243"/>
                    </a:lnTo>
                    <a:lnTo>
                      <a:pt x="1999" y="2279"/>
                    </a:lnTo>
                    <a:lnTo>
                      <a:pt x="2090" y="2398"/>
                    </a:lnTo>
                    <a:lnTo>
                      <a:pt x="2184" y="2458"/>
                    </a:lnTo>
                    <a:lnTo>
                      <a:pt x="2460" y="2466"/>
                    </a:lnTo>
                    <a:lnTo>
                      <a:pt x="2645" y="255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2" name="Freeform 24">
                <a:extLst>
                  <a:ext uri="{FF2B5EF4-FFF2-40B4-BE49-F238E27FC236}">
                    <a16:creationId xmlns:a16="http://schemas.microsoft.com/office/drawing/2014/main" id="{CF748B10-7EE5-4461-B418-AA5050D209A2}"/>
                  </a:ext>
                </a:extLst>
              </p:cNvPr>
              <p:cNvSpPr>
                <a:spLocks/>
              </p:cNvSpPr>
              <p:nvPr/>
            </p:nvSpPr>
            <p:spPr bwMode="auto">
              <a:xfrm>
                <a:off x="265" y="1819"/>
                <a:ext cx="594" cy="325"/>
              </a:xfrm>
              <a:custGeom>
                <a:avLst/>
                <a:gdLst/>
                <a:ahLst/>
                <a:cxnLst>
                  <a:cxn ang="0">
                    <a:pos x="101" y="0"/>
                  </a:cxn>
                  <a:cxn ang="0">
                    <a:pos x="0" y="226"/>
                  </a:cxn>
                  <a:cxn ang="0">
                    <a:pos x="94" y="341"/>
                  </a:cxn>
                  <a:cxn ang="0">
                    <a:pos x="261" y="695"/>
                  </a:cxn>
                  <a:cxn ang="0">
                    <a:pos x="562" y="1078"/>
                  </a:cxn>
                  <a:cxn ang="0">
                    <a:pos x="445" y="1236"/>
                  </a:cxn>
                  <a:cxn ang="0">
                    <a:pos x="652" y="1266"/>
                  </a:cxn>
                  <a:cxn ang="0">
                    <a:pos x="828" y="1316"/>
                  </a:cxn>
                  <a:cxn ang="0">
                    <a:pos x="947" y="1415"/>
                  </a:cxn>
                  <a:cxn ang="0">
                    <a:pos x="1060" y="1585"/>
                  </a:cxn>
                  <a:cxn ang="0">
                    <a:pos x="1508" y="1565"/>
                  </a:cxn>
                  <a:cxn ang="0">
                    <a:pos x="1828" y="1284"/>
                  </a:cxn>
                  <a:cxn ang="0">
                    <a:pos x="1887" y="1435"/>
                  </a:cxn>
                  <a:cxn ang="0">
                    <a:pos x="1813" y="1570"/>
                  </a:cxn>
                  <a:cxn ang="0">
                    <a:pos x="1847" y="2049"/>
                  </a:cxn>
                  <a:cxn ang="0">
                    <a:pos x="2004" y="2164"/>
                  </a:cxn>
                  <a:cxn ang="0">
                    <a:pos x="2187" y="2089"/>
                  </a:cxn>
                  <a:cxn ang="0">
                    <a:pos x="2420" y="2085"/>
                  </a:cxn>
                  <a:cxn ang="0">
                    <a:pos x="2674" y="2094"/>
                  </a:cxn>
                  <a:cxn ang="0">
                    <a:pos x="2880" y="2199"/>
                  </a:cxn>
                  <a:cxn ang="0">
                    <a:pos x="3052" y="2164"/>
                  </a:cxn>
                  <a:cxn ang="0">
                    <a:pos x="3279" y="1939"/>
                  </a:cxn>
                  <a:cxn ang="0">
                    <a:pos x="3451" y="1944"/>
                  </a:cxn>
                  <a:cxn ang="0">
                    <a:pos x="3775" y="1705"/>
                  </a:cxn>
                  <a:cxn ang="0">
                    <a:pos x="3967" y="1540"/>
                  </a:cxn>
                  <a:cxn ang="0">
                    <a:pos x="3893" y="1435"/>
                  </a:cxn>
                  <a:cxn ang="0">
                    <a:pos x="3627" y="1346"/>
                  </a:cxn>
                  <a:cxn ang="0">
                    <a:pos x="2801" y="956"/>
                  </a:cxn>
                  <a:cxn ang="0">
                    <a:pos x="2299" y="718"/>
                  </a:cxn>
                  <a:cxn ang="0">
                    <a:pos x="2063" y="538"/>
                  </a:cxn>
                  <a:cxn ang="0">
                    <a:pos x="1611" y="448"/>
                  </a:cxn>
                  <a:cxn ang="0">
                    <a:pos x="1006" y="269"/>
                  </a:cxn>
                  <a:cxn ang="0">
                    <a:pos x="868" y="254"/>
                  </a:cxn>
                  <a:cxn ang="0">
                    <a:pos x="101" y="0"/>
                  </a:cxn>
                </a:cxnLst>
                <a:rect l="0" t="0" r="r" b="b"/>
                <a:pathLst>
                  <a:path w="3967" h="2199">
                    <a:moveTo>
                      <a:pt x="101" y="0"/>
                    </a:moveTo>
                    <a:lnTo>
                      <a:pt x="0" y="226"/>
                    </a:lnTo>
                    <a:lnTo>
                      <a:pt x="94" y="341"/>
                    </a:lnTo>
                    <a:lnTo>
                      <a:pt x="261" y="695"/>
                    </a:lnTo>
                    <a:lnTo>
                      <a:pt x="562" y="1078"/>
                    </a:lnTo>
                    <a:lnTo>
                      <a:pt x="445" y="1236"/>
                    </a:lnTo>
                    <a:lnTo>
                      <a:pt x="652" y="1266"/>
                    </a:lnTo>
                    <a:lnTo>
                      <a:pt x="828" y="1316"/>
                    </a:lnTo>
                    <a:lnTo>
                      <a:pt x="947" y="1415"/>
                    </a:lnTo>
                    <a:lnTo>
                      <a:pt x="1060" y="1585"/>
                    </a:lnTo>
                    <a:lnTo>
                      <a:pt x="1508" y="1565"/>
                    </a:lnTo>
                    <a:lnTo>
                      <a:pt x="1828" y="1284"/>
                    </a:lnTo>
                    <a:lnTo>
                      <a:pt x="1887" y="1435"/>
                    </a:lnTo>
                    <a:lnTo>
                      <a:pt x="1813" y="1570"/>
                    </a:lnTo>
                    <a:lnTo>
                      <a:pt x="1847" y="2049"/>
                    </a:lnTo>
                    <a:lnTo>
                      <a:pt x="2004" y="2164"/>
                    </a:lnTo>
                    <a:lnTo>
                      <a:pt x="2187" y="2089"/>
                    </a:lnTo>
                    <a:lnTo>
                      <a:pt x="2420" y="2085"/>
                    </a:lnTo>
                    <a:lnTo>
                      <a:pt x="2674" y="2094"/>
                    </a:lnTo>
                    <a:lnTo>
                      <a:pt x="2880" y="2199"/>
                    </a:lnTo>
                    <a:lnTo>
                      <a:pt x="3052" y="2164"/>
                    </a:lnTo>
                    <a:lnTo>
                      <a:pt x="3279" y="1939"/>
                    </a:lnTo>
                    <a:lnTo>
                      <a:pt x="3451" y="1944"/>
                    </a:lnTo>
                    <a:lnTo>
                      <a:pt x="3775" y="1705"/>
                    </a:lnTo>
                    <a:lnTo>
                      <a:pt x="3967" y="1540"/>
                    </a:lnTo>
                    <a:lnTo>
                      <a:pt x="3893" y="1435"/>
                    </a:lnTo>
                    <a:lnTo>
                      <a:pt x="3627" y="1346"/>
                    </a:lnTo>
                    <a:lnTo>
                      <a:pt x="2801" y="956"/>
                    </a:lnTo>
                    <a:lnTo>
                      <a:pt x="2299" y="718"/>
                    </a:lnTo>
                    <a:lnTo>
                      <a:pt x="2063" y="538"/>
                    </a:lnTo>
                    <a:lnTo>
                      <a:pt x="1611" y="448"/>
                    </a:lnTo>
                    <a:lnTo>
                      <a:pt x="1006" y="269"/>
                    </a:lnTo>
                    <a:lnTo>
                      <a:pt x="868" y="254"/>
                    </a:lnTo>
                    <a:lnTo>
                      <a:pt x="101"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3" name="Freeform 25">
                <a:extLst>
                  <a:ext uri="{FF2B5EF4-FFF2-40B4-BE49-F238E27FC236}">
                    <a16:creationId xmlns:a16="http://schemas.microsoft.com/office/drawing/2014/main" id="{E418B519-2FCD-4084-8728-8B35B3A42E4E}"/>
                  </a:ext>
                </a:extLst>
              </p:cNvPr>
              <p:cNvSpPr>
                <a:spLocks/>
              </p:cNvSpPr>
              <p:nvPr/>
            </p:nvSpPr>
            <p:spPr bwMode="auto">
              <a:xfrm>
                <a:off x="280" y="1053"/>
                <a:ext cx="1429" cy="979"/>
              </a:xfrm>
              <a:custGeom>
                <a:avLst/>
                <a:gdLst/>
                <a:ahLst/>
                <a:cxnLst>
                  <a:cxn ang="0">
                    <a:pos x="2374" y="189"/>
                  </a:cxn>
                  <a:cxn ang="0">
                    <a:pos x="1961" y="208"/>
                  </a:cxn>
                  <a:cxn ang="0">
                    <a:pos x="1713" y="304"/>
                  </a:cxn>
                  <a:cxn ang="0">
                    <a:pos x="1799" y="512"/>
                  </a:cxn>
                  <a:cxn ang="0">
                    <a:pos x="2008" y="572"/>
                  </a:cxn>
                  <a:cxn ang="0">
                    <a:pos x="1941" y="691"/>
                  </a:cxn>
                  <a:cxn ang="0">
                    <a:pos x="1729" y="715"/>
                  </a:cxn>
                  <a:cxn ang="0">
                    <a:pos x="1599" y="927"/>
                  </a:cxn>
                  <a:cxn ang="0">
                    <a:pos x="1811" y="1206"/>
                  </a:cxn>
                  <a:cxn ang="0">
                    <a:pos x="1902" y="1453"/>
                  </a:cxn>
                  <a:cxn ang="0">
                    <a:pos x="1878" y="1693"/>
                  </a:cxn>
                  <a:cxn ang="0">
                    <a:pos x="1559" y="2918"/>
                  </a:cxn>
                  <a:cxn ang="0">
                    <a:pos x="1288" y="2822"/>
                  </a:cxn>
                  <a:cxn ang="0">
                    <a:pos x="1087" y="2938"/>
                  </a:cxn>
                  <a:cxn ang="0">
                    <a:pos x="366" y="3281"/>
                  </a:cxn>
                  <a:cxn ang="0">
                    <a:pos x="240" y="3612"/>
                  </a:cxn>
                  <a:cxn ang="0">
                    <a:pos x="276" y="3852"/>
                  </a:cxn>
                  <a:cxn ang="0">
                    <a:pos x="12" y="4039"/>
                  </a:cxn>
                  <a:cxn ang="0">
                    <a:pos x="619" y="4356"/>
                  </a:cxn>
                  <a:cxn ang="0">
                    <a:pos x="1215" y="4512"/>
                  </a:cxn>
                  <a:cxn ang="0">
                    <a:pos x="1764" y="4729"/>
                  </a:cxn>
                  <a:cxn ang="0">
                    <a:pos x="3036" y="5300"/>
                  </a:cxn>
                  <a:cxn ang="0">
                    <a:pos x="3193" y="5120"/>
                  </a:cxn>
                  <a:cxn ang="0">
                    <a:pos x="3708" y="5085"/>
                  </a:cxn>
                  <a:cxn ang="0">
                    <a:pos x="3890" y="4961"/>
                  </a:cxn>
                  <a:cxn ang="0">
                    <a:pos x="4221" y="4905"/>
                  </a:cxn>
                  <a:cxn ang="0">
                    <a:pos x="4280" y="4674"/>
                  </a:cxn>
                  <a:cxn ang="0">
                    <a:pos x="4761" y="4494"/>
                  </a:cxn>
                  <a:cxn ang="0">
                    <a:pos x="4989" y="4701"/>
                  </a:cxn>
                  <a:cxn ang="0">
                    <a:pos x="5233" y="4829"/>
                  </a:cxn>
                  <a:cxn ang="0">
                    <a:pos x="6674" y="4853"/>
                  </a:cxn>
                  <a:cxn ang="0">
                    <a:pos x="6796" y="4123"/>
                  </a:cxn>
                  <a:cxn ang="0">
                    <a:pos x="7635" y="2040"/>
                  </a:cxn>
                  <a:cxn ang="0">
                    <a:pos x="7099" y="1661"/>
                  </a:cxn>
                  <a:cxn ang="0">
                    <a:pos x="6621" y="1291"/>
                  </a:cxn>
                  <a:cxn ang="0">
                    <a:pos x="6548" y="951"/>
                  </a:cxn>
                  <a:cxn ang="0">
                    <a:pos x="6300" y="871"/>
                  </a:cxn>
                  <a:cxn ang="0">
                    <a:pos x="5970" y="955"/>
                  </a:cxn>
                  <a:cxn ang="0">
                    <a:pos x="5895" y="1240"/>
                  </a:cxn>
                  <a:cxn ang="0">
                    <a:pos x="5745" y="1327"/>
                  </a:cxn>
                  <a:cxn ang="0">
                    <a:pos x="5473" y="1190"/>
                  </a:cxn>
                  <a:cxn ang="0">
                    <a:pos x="5341" y="1467"/>
                  </a:cxn>
                  <a:cxn ang="0">
                    <a:pos x="5208" y="1576"/>
                  </a:cxn>
                  <a:cxn ang="0">
                    <a:pos x="4954" y="1338"/>
                  </a:cxn>
                  <a:cxn ang="0">
                    <a:pos x="5013" y="1137"/>
                  </a:cxn>
                  <a:cxn ang="0">
                    <a:pos x="4953" y="577"/>
                  </a:cxn>
                  <a:cxn ang="0">
                    <a:pos x="4822" y="258"/>
                  </a:cxn>
                  <a:cxn ang="0">
                    <a:pos x="4678" y="69"/>
                  </a:cxn>
                  <a:cxn ang="0">
                    <a:pos x="4381" y="78"/>
                  </a:cxn>
                  <a:cxn ang="0">
                    <a:pos x="4246" y="237"/>
                  </a:cxn>
                  <a:cxn ang="0">
                    <a:pos x="4040" y="352"/>
                  </a:cxn>
                  <a:cxn ang="0">
                    <a:pos x="3607" y="687"/>
                  </a:cxn>
                  <a:cxn ang="0">
                    <a:pos x="3497" y="536"/>
                  </a:cxn>
                  <a:cxn ang="0">
                    <a:pos x="3012" y="416"/>
                  </a:cxn>
                  <a:cxn ang="0">
                    <a:pos x="2922" y="256"/>
                  </a:cxn>
                  <a:cxn ang="0">
                    <a:pos x="2804" y="9"/>
                  </a:cxn>
                  <a:cxn ang="0">
                    <a:pos x="2551" y="208"/>
                  </a:cxn>
                </a:cxnLst>
                <a:rect l="0" t="0" r="r" b="b"/>
                <a:pathLst>
                  <a:path w="7635" h="5300">
                    <a:moveTo>
                      <a:pt x="2422" y="79"/>
                    </a:moveTo>
                    <a:lnTo>
                      <a:pt x="2374" y="189"/>
                    </a:lnTo>
                    <a:lnTo>
                      <a:pt x="2143" y="225"/>
                    </a:lnTo>
                    <a:lnTo>
                      <a:pt x="1961" y="208"/>
                    </a:lnTo>
                    <a:lnTo>
                      <a:pt x="1744" y="210"/>
                    </a:lnTo>
                    <a:lnTo>
                      <a:pt x="1713" y="304"/>
                    </a:lnTo>
                    <a:lnTo>
                      <a:pt x="1717" y="464"/>
                    </a:lnTo>
                    <a:lnTo>
                      <a:pt x="1799" y="512"/>
                    </a:lnTo>
                    <a:lnTo>
                      <a:pt x="1961" y="508"/>
                    </a:lnTo>
                    <a:lnTo>
                      <a:pt x="2008" y="572"/>
                    </a:lnTo>
                    <a:lnTo>
                      <a:pt x="2024" y="651"/>
                    </a:lnTo>
                    <a:lnTo>
                      <a:pt x="1941" y="691"/>
                    </a:lnTo>
                    <a:lnTo>
                      <a:pt x="1859" y="663"/>
                    </a:lnTo>
                    <a:lnTo>
                      <a:pt x="1729" y="715"/>
                    </a:lnTo>
                    <a:lnTo>
                      <a:pt x="1610" y="735"/>
                    </a:lnTo>
                    <a:lnTo>
                      <a:pt x="1599" y="927"/>
                    </a:lnTo>
                    <a:lnTo>
                      <a:pt x="1618" y="1106"/>
                    </a:lnTo>
                    <a:lnTo>
                      <a:pt x="1811" y="1206"/>
                    </a:lnTo>
                    <a:lnTo>
                      <a:pt x="1819" y="1338"/>
                    </a:lnTo>
                    <a:lnTo>
                      <a:pt x="1902" y="1453"/>
                    </a:lnTo>
                    <a:lnTo>
                      <a:pt x="1914" y="1561"/>
                    </a:lnTo>
                    <a:lnTo>
                      <a:pt x="1878" y="1693"/>
                    </a:lnTo>
                    <a:lnTo>
                      <a:pt x="1666" y="2842"/>
                    </a:lnTo>
                    <a:lnTo>
                      <a:pt x="1559" y="2918"/>
                    </a:lnTo>
                    <a:lnTo>
                      <a:pt x="1500" y="2810"/>
                    </a:lnTo>
                    <a:lnTo>
                      <a:pt x="1288" y="2822"/>
                    </a:lnTo>
                    <a:lnTo>
                      <a:pt x="1217" y="2902"/>
                    </a:lnTo>
                    <a:lnTo>
                      <a:pt x="1087" y="2938"/>
                    </a:lnTo>
                    <a:lnTo>
                      <a:pt x="803" y="2974"/>
                    </a:lnTo>
                    <a:lnTo>
                      <a:pt x="366" y="3281"/>
                    </a:lnTo>
                    <a:lnTo>
                      <a:pt x="347" y="3480"/>
                    </a:lnTo>
                    <a:lnTo>
                      <a:pt x="240" y="3612"/>
                    </a:lnTo>
                    <a:lnTo>
                      <a:pt x="236" y="3732"/>
                    </a:lnTo>
                    <a:lnTo>
                      <a:pt x="276" y="3852"/>
                    </a:lnTo>
                    <a:lnTo>
                      <a:pt x="122" y="3931"/>
                    </a:lnTo>
                    <a:lnTo>
                      <a:pt x="12" y="4039"/>
                    </a:lnTo>
                    <a:lnTo>
                      <a:pt x="0" y="4151"/>
                    </a:lnTo>
                    <a:lnTo>
                      <a:pt x="619" y="4356"/>
                    </a:lnTo>
                    <a:lnTo>
                      <a:pt x="732" y="4369"/>
                    </a:lnTo>
                    <a:lnTo>
                      <a:pt x="1215" y="4512"/>
                    </a:lnTo>
                    <a:lnTo>
                      <a:pt x="1573" y="4584"/>
                    </a:lnTo>
                    <a:lnTo>
                      <a:pt x="1764" y="4729"/>
                    </a:lnTo>
                    <a:lnTo>
                      <a:pt x="2839" y="5236"/>
                    </a:lnTo>
                    <a:lnTo>
                      <a:pt x="3036" y="5300"/>
                    </a:lnTo>
                    <a:lnTo>
                      <a:pt x="3146" y="5236"/>
                    </a:lnTo>
                    <a:lnTo>
                      <a:pt x="3193" y="5120"/>
                    </a:lnTo>
                    <a:lnTo>
                      <a:pt x="3477" y="5120"/>
                    </a:lnTo>
                    <a:lnTo>
                      <a:pt x="3708" y="5085"/>
                    </a:lnTo>
                    <a:lnTo>
                      <a:pt x="3810" y="5058"/>
                    </a:lnTo>
                    <a:lnTo>
                      <a:pt x="3890" y="4961"/>
                    </a:lnTo>
                    <a:lnTo>
                      <a:pt x="4020" y="4953"/>
                    </a:lnTo>
                    <a:lnTo>
                      <a:pt x="4221" y="4905"/>
                    </a:lnTo>
                    <a:lnTo>
                      <a:pt x="4280" y="4793"/>
                    </a:lnTo>
                    <a:lnTo>
                      <a:pt x="4280" y="4674"/>
                    </a:lnTo>
                    <a:lnTo>
                      <a:pt x="4524" y="4510"/>
                    </a:lnTo>
                    <a:lnTo>
                      <a:pt x="4761" y="4494"/>
                    </a:lnTo>
                    <a:lnTo>
                      <a:pt x="4867" y="4614"/>
                    </a:lnTo>
                    <a:lnTo>
                      <a:pt x="4989" y="4701"/>
                    </a:lnTo>
                    <a:lnTo>
                      <a:pt x="5139" y="4889"/>
                    </a:lnTo>
                    <a:lnTo>
                      <a:pt x="5233" y="4829"/>
                    </a:lnTo>
                    <a:lnTo>
                      <a:pt x="5363" y="4857"/>
                    </a:lnTo>
                    <a:lnTo>
                      <a:pt x="6674" y="4853"/>
                    </a:lnTo>
                    <a:lnTo>
                      <a:pt x="6808" y="4235"/>
                    </a:lnTo>
                    <a:lnTo>
                      <a:pt x="6796" y="4123"/>
                    </a:lnTo>
                    <a:lnTo>
                      <a:pt x="6698" y="4015"/>
                    </a:lnTo>
                    <a:lnTo>
                      <a:pt x="7635" y="2040"/>
                    </a:lnTo>
                    <a:lnTo>
                      <a:pt x="7348" y="1777"/>
                    </a:lnTo>
                    <a:lnTo>
                      <a:pt x="7099" y="1661"/>
                    </a:lnTo>
                    <a:lnTo>
                      <a:pt x="6863" y="1541"/>
                    </a:lnTo>
                    <a:lnTo>
                      <a:pt x="6621" y="1291"/>
                    </a:lnTo>
                    <a:lnTo>
                      <a:pt x="6521" y="1046"/>
                    </a:lnTo>
                    <a:lnTo>
                      <a:pt x="6548" y="951"/>
                    </a:lnTo>
                    <a:lnTo>
                      <a:pt x="6531" y="853"/>
                    </a:lnTo>
                    <a:lnTo>
                      <a:pt x="6300" y="871"/>
                    </a:lnTo>
                    <a:lnTo>
                      <a:pt x="6085" y="859"/>
                    </a:lnTo>
                    <a:lnTo>
                      <a:pt x="5970" y="955"/>
                    </a:lnTo>
                    <a:lnTo>
                      <a:pt x="5908" y="1093"/>
                    </a:lnTo>
                    <a:lnTo>
                      <a:pt x="5895" y="1240"/>
                    </a:lnTo>
                    <a:lnTo>
                      <a:pt x="5839" y="1334"/>
                    </a:lnTo>
                    <a:lnTo>
                      <a:pt x="5745" y="1327"/>
                    </a:lnTo>
                    <a:lnTo>
                      <a:pt x="5601" y="1194"/>
                    </a:lnTo>
                    <a:lnTo>
                      <a:pt x="5473" y="1190"/>
                    </a:lnTo>
                    <a:lnTo>
                      <a:pt x="5352" y="1332"/>
                    </a:lnTo>
                    <a:lnTo>
                      <a:pt x="5341" y="1467"/>
                    </a:lnTo>
                    <a:lnTo>
                      <a:pt x="5329" y="1585"/>
                    </a:lnTo>
                    <a:lnTo>
                      <a:pt x="5208" y="1576"/>
                    </a:lnTo>
                    <a:lnTo>
                      <a:pt x="5131" y="1447"/>
                    </a:lnTo>
                    <a:lnTo>
                      <a:pt x="4954" y="1338"/>
                    </a:lnTo>
                    <a:lnTo>
                      <a:pt x="5025" y="1237"/>
                    </a:lnTo>
                    <a:lnTo>
                      <a:pt x="5013" y="1137"/>
                    </a:lnTo>
                    <a:lnTo>
                      <a:pt x="4920" y="999"/>
                    </a:lnTo>
                    <a:lnTo>
                      <a:pt x="4953" y="577"/>
                    </a:lnTo>
                    <a:lnTo>
                      <a:pt x="4914" y="416"/>
                    </a:lnTo>
                    <a:lnTo>
                      <a:pt x="4822" y="258"/>
                    </a:lnTo>
                    <a:lnTo>
                      <a:pt x="4834" y="129"/>
                    </a:lnTo>
                    <a:lnTo>
                      <a:pt x="4678" y="69"/>
                    </a:lnTo>
                    <a:lnTo>
                      <a:pt x="4560" y="0"/>
                    </a:lnTo>
                    <a:lnTo>
                      <a:pt x="4381" y="78"/>
                    </a:lnTo>
                    <a:lnTo>
                      <a:pt x="4290" y="91"/>
                    </a:lnTo>
                    <a:lnTo>
                      <a:pt x="4246" y="237"/>
                    </a:lnTo>
                    <a:lnTo>
                      <a:pt x="4134" y="340"/>
                    </a:lnTo>
                    <a:lnTo>
                      <a:pt x="4040" y="352"/>
                    </a:lnTo>
                    <a:lnTo>
                      <a:pt x="3890" y="424"/>
                    </a:lnTo>
                    <a:lnTo>
                      <a:pt x="3607" y="687"/>
                    </a:lnTo>
                    <a:lnTo>
                      <a:pt x="3579" y="568"/>
                    </a:lnTo>
                    <a:lnTo>
                      <a:pt x="3497" y="536"/>
                    </a:lnTo>
                    <a:lnTo>
                      <a:pt x="3272" y="643"/>
                    </a:lnTo>
                    <a:lnTo>
                      <a:pt x="3012" y="416"/>
                    </a:lnTo>
                    <a:lnTo>
                      <a:pt x="2898" y="416"/>
                    </a:lnTo>
                    <a:lnTo>
                      <a:pt x="2922" y="256"/>
                    </a:lnTo>
                    <a:lnTo>
                      <a:pt x="2847" y="177"/>
                    </a:lnTo>
                    <a:lnTo>
                      <a:pt x="2804" y="9"/>
                    </a:lnTo>
                    <a:lnTo>
                      <a:pt x="2647" y="91"/>
                    </a:lnTo>
                    <a:lnTo>
                      <a:pt x="2551" y="208"/>
                    </a:lnTo>
                    <a:lnTo>
                      <a:pt x="2422" y="7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4" name="Freeform 26">
                <a:extLst>
                  <a:ext uri="{FF2B5EF4-FFF2-40B4-BE49-F238E27FC236}">
                    <a16:creationId xmlns:a16="http://schemas.microsoft.com/office/drawing/2014/main" id="{A9D0BCE8-AE19-4ECC-A2A6-FE0504DD2FC7}"/>
                  </a:ext>
                </a:extLst>
              </p:cNvPr>
              <p:cNvSpPr>
                <a:spLocks/>
              </p:cNvSpPr>
              <p:nvPr/>
            </p:nvSpPr>
            <p:spPr bwMode="auto">
              <a:xfrm>
                <a:off x="1274" y="1817"/>
                <a:ext cx="928" cy="895"/>
              </a:xfrm>
              <a:custGeom>
                <a:avLst/>
                <a:gdLst/>
                <a:ahLst/>
                <a:cxnLst>
                  <a:cxn ang="0">
                    <a:pos x="492" y="2993"/>
                  </a:cxn>
                  <a:cxn ang="0">
                    <a:pos x="551" y="3304"/>
                  </a:cxn>
                  <a:cxn ang="0">
                    <a:pos x="440" y="3532"/>
                  </a:cxn>
                  <a:cxn ang="0">
                    <a:pos x="578" y="3998"/>
                  </a:cxn>
                  <a:cxn ang="0">
                    <a:pos x="1319" y="4223"/>
                  </a:cxn>
                  <a:cxn ang="0">
                    <a:pos x="1453" y="4569"/>
                  </a:cxn>
                  <a:cxn ang="0">
                    <a:pos x="1626" y="4700"/>
                  </a:cxn>
                  <a:cxn ang="0">
                    <a:pos x="1880" y="4700"/>
                  </a:cxn>
                  <a:cxn ang="0">
                    <a:pos x="2126" y="4523"/>
                  </a:cxn>
                  <a:cxn ang="0">
                    <a:pos x="2410" y="4477"/>
                  </a:cxn>
                  <a:cxn ang="0">
                    <a:pos x="2693" y="4700"/>
                  </a:cxn>
                  <a:cxn ang="0">
                    <a:pos x="2961" y="4597"/>
                  </a:cxn>
                  <a:cxn ang="0">
                    <a:pos x="3177" y="4617"/>
                  </a:cxn>
                  <a:cxn ang="0">
                    <a:pos x="3320" y="4561"/>
                  </a:cxn>
                  <a:cxn ang="0">
                    <a:pos x="3209" y="4760"/>
                  </a:cxn>
                  <a:cxn ang="0">
                    <a:pos x="3425" y="4832"/>
                  </a:cxn>
                  <a:cxn ang="0">
                    <a:pos x="3544" y="4641"/>
                  </a:cxn>
                  <a:cxn ang="0">
                    <a:pos x="3610" y="4429"/>
                  </a:cxn>
                  <a:cxn ang="0">
                    <a:pos x="3752" y="4245"/>
                  </a:cxn>
                  <a:cxn ang="0">
                    <a:pos x="3953" y="3862"/>
                  </a:cxn>
                  <a:cxn ang="0">
                    <a:pos x="4213" y="3695"/>
                  </a:cxn>
                  <a:cxn ang="0">
                    <a:pos x="4453" y="3483"/>
                  </a:cxn>
                  <a:cxn ang="0">
                    <a:pos x="4544" y="3184"/>
                  </a:cxn>
                  <a:cxn ang="0">
                    <a:pos x="4626" y="2969"/>
                  </a:cxn>
                  <a:cxn ang="0">
                    <a:pos x="4796" y="2574"/>
                  </a:cxn>
                  <a:cxn ang="0">
                    <a:pos x="4744" y="2346"/>
                  </a:cxn>
                  <a:cxn ang="0">
                    <a:pos x="4851" y="1415"/>
                  </a:cxn>
                  <a:cxn ang="0">
                    <a:pos x="2725" y="1073"/>
                  </a:cxn>
                  <a:cxn ang="0">
                    <a:pos x="1937" y="834"/>
                  </a:cxn>
                  <a:cxn ang="0">
                    <a:pos x="1732" y="491"/>
                  </a:cxn>
                  <a:cxn ang="0">
                    <a:pos x="1496" y="0"/>
                  </a:cxn>
                  <a:cxn ang="0">
                    <a:pos x="1370" y="714"/>
                  </a:cxn>
                  <a:cxn ang="0">
                    <a:pos x="42" y="833"/>
                  </a:cxn>
                  <a:cxn ang="0">
                    <a:pos x="71" y="1211"/>
                  </a:cxn>
                  <a:cxn ang="0">
                    <a:pos x="47" y="1696"/>
                  </a:cxn>
                  <a:cxn ang="0">
                    <a:pos x="506" y="1697"/>
                  </a:cxn>
                  <a:cxn ang="0">
                    <a:pos x="719" y="1774"/>
                  </a:cxn>
                  <a:cxn ang="0">
                    <a:pos x="651" y="1964"/>
                  </a:cxn>
                  <a:cxn ang="0">
                    <a:pos x="744" y="2192"/>
                  </a:cxn>
                  <a:cxn ang="0">
                    <a:pos x="684" y="2516"/>
                  </a:cxn>
                  <a:cxn ang="0">
                    <a:pos x="508" y="2773"/>
                  </a:cxn>
                  <a:cxn ang="0">
                    <a:pos x="375" y="2906"/>
                  </a:cxn>
                </a:cxnLst>
                <a:rect l="0" t="0" r="r" b="b"/>
                <a:pathLst>
                  <a:path w="4961" h="4846">
                    <a:moveTo>
                      <a:pt x="375" y="2906"/>
                    </a:moveTo>
                    <a:lnTo>
                      <a:pt x="492" y="2993"/>
                    </a:lnTo>
                    <a:lnTo>
                      <a:pt x="473" y="3110"/>
                    </a:lnTo>
                    <a:lnTo>
                      <a:pt x="551" y="3304"/>
                    </a:lnTo>
                    <a:lnTo>
                      <a:pt x="563" y="3514"/>
                    </a:lnTo>
                    <a:lnTo>
                      <a:pt x="440" y="3532"/>
                    </a:lnTo>
                    <a:lnTo>
                      <a:pt x="552" y="3677"/>
                    </a:lnTo>
                    <a:lnTo>
                      <a:pt x="578" y="3998"/>
                    </a:lnTo>
                    <a:lnTo>
                      <a:pt x="1401" y="4058"/>
                    </a:lnTo>
                    <a:lnTo>
                      <a:pt x="1319" y="4223"/>
                    </a:lnTo>
                    <a:lnTo>
                      <a:pt x="1343" y="4453"/>
                    </a:lnTo>
                    <a:lnTo>
                      <a:pt x="1453" y="4569"/>
                    </a:lnTo>
                    <a:lnTo>
                      <a:pt x="1581" y="4580"/>
                    </a:lnTo>
                    <a:lnTo>
                      <a:pt x="1626" y="4700"/>
                    </a:lnTo>
                    <a:lnTo>
                      <a:pt x="1739" y="4741"/>
                    </a:lnTo>
                    <a:lnTo>
                      <a:pt x="1880" y="4700"/>
                    </a:lnTo>
                    <a:lnTo>
                      <a:pt x="2007" y="4525"/>
                    </a:lnTo>
                    <a:lnTo>
                      <a:pt x="2126" y="4523"/>
                    </a:lnTo>
                    <a:lnTo>
                      <a:pt x="2256" y="4461"/>
                    </a:lnTo>
                    <a:lnTo>
                      <a:pt x="2410" y="4477"/>
                    </a:lnTo>
                    <a:lnTo>
                      <a:pt x="2516" y="4549"/>
                    </a:lnTo>
                    <a:lnTo>
                      <a:pt x="2693" y="4700"/>
                    </a:lnTo>
                    <a:lnTo>
                      <a:pt x="2843" y="4644"/>
                    </a:lnTo>
                    <a:lnTo>
                      <a:pt x="2961" y="4597"/>
                    </a:lnTo>
                    <a:lnTo>
                      <a:pt x="3067" y="4644"/>
                    </a:lnTo>
                    <a:lnTo>
                      <a:pt x="3177" y="4617"/>
                    </a:lnTo>
                    <a:lnTo>
                      <a:pt x="3284" y="4497"/>
                    </a:lnTo>
                    <a:lnTo>
                      <a:pt x="3320" y="4561"/>
                    </a:lnTo>
                    <a:lnTo>
                      <a:pt x="3293" y="4649"/>
                    </a:lnTo>
                    <a:lnTo>
                      <a:pt x="3209" y="4760"/>
                    </a:lnTo>
                    <a:lnTo>
                      <a:pt x="3272" y="4846"/>
                    </a:lnTo>
                    <a:lnTo>
                      <a:pt x="3425" y="4832"/>
                    </a:lnTo>
                    <a:lnTo>
                      <a:pt x="3553" y="4791"/>
                    </a:lnTo>
                    <a:lnTo>
                      <a:pt x="3544" y="4641"/>
                    </a:lnTo>
                    <a:lnTo>
                      <a:pt x="3551" y="4513"/>
                    </a:lnTo>
                    <a:lnTo>
                      <a:pt x="3610" y="4429"/>
                    </a:lnTo>
                    <a:lnTo>
                      <a:pt x="3614" y="4305"/>
                    </a:lnTo>
                    <a:lnTo>
                      <a:pt x="3752" y="4245"/>
                    </a:lnTo>
                    <a:lnTo>
                      <a:pt x="3823" y="4106"/>
                    </a:lnTo>
                    <a:lnTo>
                      <a:pt x="3953" y="3862"/>
                    </a:lnTo>
                    <a:lnTo>
                      <a:pt x="4099" y="3827"/>
                    </a:lnTo>
                    <a:lnTo>
                      <a:pt x="4213" y="3695"/>
                    </a:lnTo>
                    <a:lnTo>
                      <a:pt x="4288" y="3527"/>
                    </a:lnTo>
                    <a:lnTo>
                      <a:pt x="4453" y="3483"/>
                    </a:lnTo>
                    <a:lnTo>
                      <a:pt x="4536" y="3336"/>
                    </a:lnTo>
                    <a:lnTo>
                      <a:pt x="4544" y="3184"/>
                    </a:lnTo>
                    <a:lnTo>
                      <a:pt x="4618" y="3084"/>
                    </a:lnTo>
                    <a:lnTo>
                      <a:pt x="4626" y="2969"/>
                    </a:lnTo>
                    <a:lnTo>
                      <a:pt x="4725" y="2713"/>
                    </a:lnTo>
                    <a:lnTo>
                      <a:pt x="4796" y="2574"/>
                    </a:lnTo>
                    <a:lnTo>
                      <a:pt x="4701" y="2490"/>
                    </a:lnTo>
                    <a:lnTo>
                      <a:pt x="4744" y="2346"/>
                    </a:lnTo>
                    <a:lnTo>
                      <a:pt x="4709" y="1923"/>
                    </a:lnTo>
                    <a:lnTo>
                      <a:pt x="4851" y="1415"/>
                    </a:lnTo>
                    <a:lnTo>
                      <a:pt x="4961" y="1221"/>
                    </a:lnTo>
                    <a:lnTo>
                      <a:pt x="2725" y="1073"/>
                    </a:lnTo>
                    <a:lnTo>
                      <a:pt x="2126" y="1006"/>
                    </a:lnTo>
                    <a:lnTo>
                      <a:pt x="1937" y="834"/>
                    </a:lnTo>
                    <a:lnTo>
                      <a:pt x="1724" y="654"/>
                    </a:lnTo>
                    <a:lnTo>
                      <a:pt x="1732" y="491"/>
                    </a:lnTo>
                    <a:lnTo>
                      <a:pt x="1650" y="247"/>
                    </a:lnTo>
                    <a:lnTo>
                      <a:pt x="1496" y="0"/>
                    </a:lnTo>
                    <a:lnTo>
                      <a:pt x="1496" y="92"/>
                    </a:lnTo>
                    <a:lnTo>
                      <a:pt x="1370" y="714"/>
                    </a:lnTo>
                    <a:lnTo>
                      <a:pt x="45" y="718"/>
                    </a:lnTo>
                    <a:lnTo>
                      <a:pt x="42" y="833"/>
                    </a:lnTo>
                    <a:lnTo>
                      <a:pt x="0" y="947"/>
                    </a:lnTo>
                    <a:lnTo>
                      <a:pt x="71" y="1211"/>
                    </a:lnTo>
                    <a:lnTo>
                      <a:pt x="20" y="1317"/>
                    </a:lnTo>
                    <a:lnTo>
                      <a:pt x="47" y="1696"/>
                    </a:lnTo>
                    <a:lnTo>
                      <a:pt x="272" y="1699"/>
                    </a:lnTo>
                    <a:lnTo>
                      <a:pt x="506" y="1697"/>
                    </a:lnTo>
                    <a:lnTo>
                      <a:pt x="585" y="1759"/>
                    </a:lnTo>
                    <a:lnTo>
                      <a:pt x="719" y="1774"/>
                    </a:lnTo>
                    <a:lnTo>
                      <a:pt x="743" y="1891"/>
                    </a:lnTo>
                    <a:lnTo>
                      <a:pt x="651" y="1964"/>
                    </a:lnTo>
                    <a:lnTo>
                      <a:pt x="672" y="2072"/>
                    </a:lnTo>
                    <a:lnTo>
                      <a:pt x="744" y="2192"/>
                    </a:lnTo>
                    <a:lnTo>
                      <a:pt x="756" y="2359"/>
                    </a:lnTo>
                    <a:lnTo>
                      <a:pt x="684" y="2516"/>
                    </a:lnTo>
                    <a:lnTo>
                      <a:pt x="587" y="2584"/>
                    </a:lnTo>
                    <a:lnTo>
                      <a:pt x="508" y="2773"/>
                    </a:lnTo>
                    <a:lnTo>
                      <a:pt x="410" y="2812"/>
                    </a:lnTo>
                    <a:lnTo>
                      <a:pt x="375" y="290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5" name="Freeform 27">
                <a:extLst>
                  <a:ext uri="{FF2B5EF4-FFF2-40B4-BE49-F238E27FC236}">
                    <a16:creationId xmlns:a16="http://schemas.microsoft.com/office/drawing/2014/main" id="{4A15B1D0-8780-43CE-9620-3859519E59BA}"/>
                  </a:ext>
                </a:extLst>
              </p:cNvPr>
              <p:cNvSpPr>
                <a:spLocks/>
              </p:cNvSpPr>
              <p:nvPr/>
            </p:nvSpPr>
            <p:spPr bwMode="auto">
              <a:xfrm>
                <a:off x="1493" y="1016"/>
                <a:ext cx="1056" cy="1027"/>
              </a:xfrm>
              <a:custGeom>
                <a:avLst/>
                <a:gdLst/>
                <a:ahLst/>
                <a:cxnLst>
                  <a:cxn ang="0">
                    <a:pos x="0" y="883"/>
                  </a:cxn>
                  <a:cxn ang="0">
                    <a:pos x="147" y="793"/>
                  </a:cxn>
                  <a:cxn ang="0">
                    <a:pos x="364" y="584"/>
                  </a:cxn>
                  <a:cxn ang="0">
                    <a:pos x="615" y="539"/>
                  </a:cxn>
                  <a:cxn ang="0">
                    <a:pos x="911" y="379"/>
                  </a:cxn>
                  <a:cxn ang="0">
                    <a:pos x="1176" y="419"/>
                  </a:cxn>
                  <a:cxn ang="0">
                    <a:pos x="1654" y="449"/>
                  </a:cxn>
                  <a:cxn ang="0">
                    <a:pos x="1595" y="200"/>
                  </a:cxn>
                  <a:cxn ang="0">
                    <a:pos x="1816" y="125"/>
                  </a:cxn>
                  <a:cxn ang="0">
                    <a:pos x="2166" y="0"/>
                  </a:cxn>
                  <a:cxn ang="0">
                    <a:pos x="2334" y="464"/>
                  </a:cxn>
                  <a:cxn ang="0">
                    <a:pos x="2672" y="544"/>
                  </a:cxn>
                  <a:cxn ang="0">
                    <a:pos x="3066" y="778"/>
                  </a:cxn>
                  <a:cxn ang="0">
                    <a:pos x="3233" y="1063"/>
                  </a:cxn>
                  <a:cxn ang="0">
                    <a:pos x="3288" y="1472"/>
                  </a:cxn>
                  <a:cxn ang="0">
                    <a:pos x="3598" y="1981"/>
                  </a:cxn>
                  <a:cxn ang="0">
                    <a:pos x="3885" y="2106"/>
                  </a:cxn>
                  <a:cxn ang="0">
                    <a:pos x="3980" y="2308"/>
                  </a:cxn>
                  <a:cxn ang="0">
                    <a:pos x="4400" y="1996"/>
                  </a:cxn>
                  <a:cxn ang="0">
                    <a:pos x="4483" y="2250"/>
                  </a:cxn>
                  <a:cxn ang="0">
                    <a:pos x="4691" y="2485"/>
                  </a:cxn>
                  <a:cxn ang="0">
                    <a:pos x="4897" y="2530"/>
                  </a:cxn>
                  <a:cxn ang="0">
                    <a:pos x="5311" y="2485"/>
                  </a:cxn>
                  <a:cxn ang="0">
                    <a:pos x="5267" y="2774"/>
                  </a:cxn>
                  <a:cxn ang="0">
                    <a:pos x="5827" y="2066"/>
                  </a:cxn>
                  <a:cxn ang="0">
                    <a:pos x="6108" y="1846"/>
                  </a:cxn>
                  <a:cxn ang="0">
                    <a:pos x="6616" y="1981"/>
                  </a:cxn>
                  <a:cxn ang="0">
                    <a:pos x="7053" y="2101"/>
                  </a:cxn>
                  <a:cxn ang="0">
                    <a:pos x="6713" y="3263"/>
                  </a:cxn>
                  <a:cxn ang="0">
                    <a:pos x="6329" y="3867"/>
                  </a:cxn>
                  <a:cxn ang="0">
                    <a:pos x="5758" y="4351"/>
                  </a:cxn>
                  <a:cxn ang="0">
                    <a:pos x="5792" y="4492"/>
                  </a:cxn>
                  <a:cxn ang="0">
                    <a:pos x="5827" y="4691"/>
                  </a:cxn>
                  <a:cxn ang="0">
                    <a:pos x="5729" y="4970"/>
                  </a:cxn>
                  <a:cxn ang="0">
                    <a:pos x="5299" y="5320"/>
                  </a:cxn>
                  <a:cxn ang="0">
                    <a:pos x="5227" y="5702"/>
                  </a:cxn>
                  <a:cxn ang="0">
                    <a:pos x="5117" y="6363"/>
                  </a:cxn>
                  <a:cxn ang="0">
                    <a:pos x="4823" y="6662"/>
                  </a:cxn>
                  <a:cxn ang="0">
                    <a:pos x="1949" y="6765"/>
                  </a:cxn>
                  <a:cxn ang="0">
                    <a:pos x="694" y="6231"/>
                  </a:cxn>
                  <a:cxn ang="0">
                    <a:pos x="600" y="5732"/>
                  </a:cxn>
                  <a:cxn ang="0">
                    <a:pos x="276" y="5259"/>
                  </a:cxn>
                  <a:cxn ang="0">
                    <a:pos x="1092" y="2475"/>
                  </a:cxn>
                  <a:cxn ang="0">
                    <a:pos x="177" y="1861"/>
                  </a:cxn>
                  <a:cxn ang="0">
                    <a:pos x="89" y="1437"/>
                  </a:cxn>
                </a:cxnLst>
                <a:rect l="0" t="0" r="r" b="b"/>
                <a:pathLst>
                  <a:path w="7053" h="6948">
                    <a:moveTo>
                      <a:pt x="69" y="1321"/>
                    </a:moveTo>
                    <a:lnTo>
                      <a:pt x="0" y="883"/>
                    </a:lnTo>
                    <a:lnTo>
                      <a:pt x="40" y="768"/>
                    </a:lnTo>
                    <a:lnTo>
                      <a:pt x="147" y="793"/>
                    </a:lnTo>
                    <a:lnTo>
                      <a:pt x="305" y="739"/>
                    </a:lnTo>
                    <a:lnTo>
                      <a:pt x="364" y="584"/>
                    </a:lnTo>
                    <a:lnTo>
                      <a:pt x="516" y="634"/>
                    </a:lnTo>
                    <a:lnTo>
                      <a:pt x="615" y="539"/>
                    </a:lnTo>
                    <a:lnTo>
                      <a:pt x="782" y="499"/>
                    </a:lnTo>
                    <a:lnTo>
                      <a:pt x="911" y="379"/>
                    </a:lnTo>
                    <a:lnTo>
                      <a:pt x="1034" y="359"/>
                    </a:lnTo>
                    <a:lnTo>
                      <a:pt x="1176" y="419"/>
                    </a:lnTo>
                    <a:lnTo>
                      <a:pt x="1314" y="374"/>
                    </a:lnTo>
                    <a:lnTo>
                      <a:pt x="1654" y="449"/>
                    </a:lnTo>
                    <a:lnTo>
                      <a:pt x="1699" y="319"/>
                    </a:lnTo>
                    <a:lnTo>
                      <a:pt x="1595" y="200"/>
                    </a:lnTo>
                    <a:lnTo>
                      <a:pt x="1679" y="80"/>
                    </a:lnTo>
                    <a:lnTo>
                      <a:pt x="1816" y="125"/>
                    </a:lnTo>
                    <a:lnTo>
                      <a:pt x="2022" y="105"/>
                    </a:lnTo>
                    <a:lnTo>
                      <a:pt x="2166" y="0"/>
                    </a:lnTo>
                    <a:lnTo>
                      <a:pt x="2334" y="95"/>
                    </a:lnTo>
                    <a:lnTo>
                      <a:pt x="2334" y="464"/>
                    </a:lnTo>
                    <a:lnTo>
                      <a:pt x="2496" y="479"/>
                    </a:lnTo>
                    <a:lnTo>
                      <a:pt x="2672" y="544"/>
                    </a:lnTo>
                    <a:lnTo>
                      <a:pt x="2835" y="674"/>
                    </a:lnTo>
                    <a:lnTo>
                      <a:pt x="3066" y="778"/>
                    </a:lnTo>
                    <a:lnTo>
                      <a:pt x="3071" y="978"/>
                    </a:lnTo>
                    <a:lnTo>
                      <a:pt x="3233" y="1063"/>
                    </a:lnTo>
                    <a:lnTo>
                      <a:pt x="3205" y="1242"/>
                    </a:lnTo>
                    <a:lnTo>
                      <a:pt x="3288" y="1472"/>
                    </a:lnTo>
                    <a:lnTo>
                      <a:pt x="3455" y="1607"/>
                    </a:lnTo>
                    <a:lnTo>
                      <a:pt x="3598" y="1981"/>
                    </a:lnTo>
                    <a:lnTo>
                      <a:pt x="3731" y="2131"/>
                    </a:lnTo>
                    <a:lnTo>
                      <a:pt x="3885" y="2106"/>
                    </a:lnTo>
                    <a:lnTo>
                      <a:pt x="3868" y="2250"/>
                    </a:lnTo>
                    <a:lnTo>
                      <a:pt x="3980" y="2308"/>
                    </a:lnTo>
                    <a:lnTo>
                      <a:pt x="4205" y="2162"/>
                    </a:lnTo>
                    <a:lnTo>
                      <a:pt x="4400" y="1996"/>
                    </a:lnTo>
                    <a:lnTo>
                      <a:pt x="4482" y="2057"/>
                    </a:lnTo>
                    <a:lnTo>
                      <a:pt x="4483" y="2250"/>
                    </a:lnTo>
                    <a:lnTo>
                      <a:pt x="4562" y="2470"/>
                    </a:lnTo>
                    <a:lnTo>
                      <a:pt x="4691" y="2485"/>
                    </a:lnTo>
                    <a:lnTo>
                      <a:pt x="4739" y="2560"/>
                    </a:lnTo>
                    <a:lnTo>
                      <a:pt x="4897" y="2530"/>
                    </a:lnTo>
                    <a:lnTo>
                      <a:pt x="5074" y="2530"/>
                    </a:lnTo>
                    <a:lnTo>
                      <a:pt x="5311" y="2485"/>
                    </a:lnTo>
                    <a:lnTo>
                      <a:pt x="5192" y="2754"/>
                    </a:lnTo>
                    <a:lnTo>
                      <a:pt x="5267" y="2774"/>
                    </a:lnTo>
                    <a:lnTo>
                      <a:pt x="5562" y="2370"/>
                    </a:lnTo>
                    <a:lnTo>
                      <a:pt x="5827" y="2066"/>
                    </a:lnTo>
                    <a:lnTo>
                      <a:pt x="5961" y="1916"/>
                    </a:lnTo>
                    <a:lnTo>
                      <a:pt x="6108" y="1846"/>
                    </a:lnTo>
                    <a:lnTo>
                      <a:pt x="6374" y="1856"/>
                    </a:lnTo>
                    <a:lnTo>
                      <a:pt x="6616" y="1981"/>
                    </a:lnTo>
                    <a:lnTo>
                      <a:pt x="6921" y="2026"/>
                    </a:lnTo>
                    <a:lnTo>
                      <a:pt x="7053" y="2101"/>
                    </a:lnTo>
                    <a:lnTo>
                      <a:pt x="6954" y="2620"/>
                    </a:lnTo>
                    <a:lnTo>
                      <a:pt x="6713" y="3263"/>
                    </a:lnTo>
                    <a:lnTo>
                      <a:pt x="6566" y="3433"/>
                    </a:lnTo>
                    <a:lnTo>
                      <a:pt x="6329" y="3867"/>
                    </a:lnTo>
                    <a:lnTo>
                      <a:pt x="6123" y="4032"/>
                    </a:lnTo>
                    <a:lnTo>
                      <a:pt x="5758" y="4351"/>
                    </a:lnTo>
                    <a:lnTo>
                      <a:pt x="5577" y="4461"/>
                    </a:lnTo>
                    <a:lnTo>
                      <a:pt x="5792" y="4492"/>
                    </a:lnTo>
                    <a:lnTo>
                      <a:pt x="5902" y="4612"/>
                    </a:lnTo>
                    <a:lnTo>
                      <a:pt x="5827" y="4691"/>
                    </a:lnTo>
                    <a:lnTo>
                      <a:pt x="5844" y="4820"/>
                    </a:lnTo>
                    <a:lnTo>
                      <a:pt x="5729" y="4970"/>
                    </a:lnTo>
                    <a:lnTo>
                      <a:pt x="5534" y="5222"/>
                    </a:lnTo>
                    <a:lnTo>
                      <a:pt x="5299" y="5320"/>
                    </a:lnTo>
                    <a:lnTo>
                      <a:pt x="5297" y="5497"/>
                    </a:lnTo>
                    <a:lnTo>
                      <a:pt x="5227" y="5702"/>
                    </a:lnTo>
                    <a:lnTo>
                      <a:pt x="5339" y="5908"/>
                    </a:lnTo>
                    <a:lnTo>
                      <a:pt x="5117" y="6363"/>
                    </a:lnTo>
                    <a:lnTo>
                      <a:pt x="4976" y="6467"/>
                    </a:lnTo>
                    <a:lnTo>
                      <a:pt x="4823" y="6662"/>
                    </a:lnTo>
                    <a:lnTo>
                      <a:pt x="4739" y="6948"/>
                    </a:lnTo>
                    <a:lnTo>
                      <a:pt x="1949" y="6765"/>
                    </a:lnTo>
                    <a:lnTo>
                      <a:pt x="1206" y="6682"/>
                    </a:lnTo>
                    <a:lnTo>
                      <a:pt x="694" y="6231"/>
                    </a:lnTo>
                    <a:lnTo>
                      <a:pt x="704" y="6048"/>
                    </a:lnTo>
                    <a:lnTo>
                      <a:pt x="600" y="5732"/>
                    </a:lnTo>
                    <a:lnTo>
                      <a:pt x="414" y="5434"/>
                    </a:lnTo>
                    <a:lnTo>
                      <a:pt x="276" y="5259"/>
                    </a:lnTo>
                    <a:lnTo>
                      <a:pt x="1447" y="2799"/>
                    </a:lnTo>
                    <a:lnTo>
                      <a:pt x="1092" y="2475"/>
                    </a:lnTo>
                    <a:lnTo>
                      <a:pt x="487" y="2186"/>
                    </a:lnTo>
                    <a:lnTo>
                      <a:pt x="177" y="1861"/>
                    </a:lnTo>
                    <a:lnTo>
                      <a:pt x="54" y="1557"/>
                    </a:lnTo>
                    <a:lnTo>
                      <a:pt x="89" y="1437"/>
                    </a:lnTo>
                    <a:lnTo>
                      <a:pt x="69" y="1321"/>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6" name="Freeform 28">
                <a:extLst>
                  <a:ext uri="{FF2B5EF4-FFF2-40B4-BE49-F238E27FC236}">
                    <a16:creationId xmlns:a16="http://schemas.microsoft.com/office/drawing/2014/main" id="{20B1709A-1941-4B85-9C53-94CB666F60FB}"/>
                  </a:ext>
                </a:extLst>
              </p:cNvPr>
              <p:cNvSpPr>
                <a:spLocks/>
              </p:cNvSpPr>
              <p:nvPr/>
            </p:nvSpPr>
            <p:spPr bwMode="auto">
              <a:xfrm>
                <a:off x="1842" y="872"/>
                <a:ext cx="400" cy="459"/>
              </a:xfrm>
              <a:custGeom>
                <a:avLst/>
                <a:gdLst/>
                <a:ahLst/>
                <a:cxnLst>
                  <a:cxn ang="0">
                    <a:pos x="4" y="1069"/>
                  </a:cxn>
                  <a:cxn ang="0">
                    <a:pos x="134" y="1156"/>
                  </a:cxn>
                  <a:cxn ang="0">
                    <a:pos x="275" y="1247"/>
                  </a:cxn>
                  <a:cxn ang="0">
                    <a:pos x="526" y="1137"/>
                  </a:cxn>
                  <a:cxn ang="0">
                    <a:pos x="734" y="1167"/>
                  </a:cxn>
                  <a:cxn ang="0">
                    <a:pos x="881" y="1197"/>
                  </a:cxn>
                  <a:cxn ang="0">
                    <a:pos x="1014" y="1217"/>
                  </a:cxn>
                  <a:cxn ang="0">
                    <a:pos x="1211" y="1032"/>
                  </a:cxn>
                  <a:cxn ang="0">
                    <a:pos x="1206" y="942"/>
                  </a:cxn>
                  <a:cxn ang="0">
                    <a:pos x="1324" y="679"/>
                  </a:cxn>
                  <a:cxn ang="0">
                    <a:pos x="1698" y="110"/>
                  </a:cxn>
                  <a:cxn ang="0">
                    <a:pos x="1753" y="0"/>
                  </a:cxn>
                  <a:cxn ang="0">
                    <a:pos x="1915" y="95"/>
                  </a:cxn>
                  <a:cxn ang="0">
                    <a:pos x="1959" y="259"/>
                  </a:cxn>
                  <a:cxn ang="0">
                    <a:pos x="2023" y="289"/>
                  </a:cxn>
                  <a:cxn ang="0">
                    <a:pos x="2033" y="614"/>
                  </a:cxn>
                  <a:cxn ang="0">
                    <a:pos x="2165" y="1007"/>
                  </a:cxn>
                  <a:cxn ang="0">
                    <a:pos x="2259" y="1247"/>
                  </a:cxn>
                  <a:cxn ang="0">
                    <a:pos x="2388" y="1436"/>
                  </a:cxn>
                  <a:cxn ang="0">
                    <a:pos x="2550" y="1441"/>
                  </a:cxn>
                  <a:cxn ang="0">
                    <a:pos x="2668" y="1531"/>
                  </a:cxn>
                  <a:cxn ang="0">
                    <a:pos x="2673" y="1676"/>
                  </a:cxn>
                  <a:cxn ang="0">
                    <a:pos x="2584" y="1766"/>
                  </a:cxn>
                  <a:cxn ang="0">
                    <a:pos x="2658" y="1815"/>
                  </a:cxn>
                  <a:cxn ang="0">
                    <a:pos x="2452" y="1995"/>
                  </a:cxn>
                  <a:cxn ang="0">
                    <a:pos x="2254" y="2235"/>
                  </a:cxn>
                  <a:cxn ang="0">
                    <a:pos x="2087" y="2378"/>
                  </a:cxn>
                  <a:cxn ang="0">
                    <a:pos x="1920" y="2488"/>
                  </a:cxn>
                  <a:cxn ang="0">
                    <a:pos x="1817" y="2693"/>
                  </a:cxn>
                  <a:cxn ang="0">
                    <a:pos x="1770" y="2871"/>
                  </a:cxn>
                  <a:cxn ang="0">
                    <a:pos x="1553" y="3077"/>
                  </a:cxn>
                  <a:cxn ang="0">
                    <a:pos x="1403" y="3102"/>
                  </a:cxn>
                  <a:cxn ang="0">
                    <a:pos x="1268" y="2957"/>
                  </a:cxn>
                  <a:cxn ang="0">
                    <a:pos x="1123" y="2573"/>
                  </a:cxn>
                  <a:cxn ang="0">
                    <a:pos x="955" y="2443"/>
                  </a:cxn>
                  <a:cxn ang="0">
                    <a:pos x="871" y="2220"/>
                  </a:cxn>
                  <a:cxn ang="0">
                    <a:pos x="896" y="2035"/>
                  </a:cxn>
                  <a:cxn ang="0">
                    <a:pos x="739" y="1945"/>
                  </a:cxn>
                  <a:cxn ang="0">
                    <a:pos x="727" y="1742"/>
                  </a:cxn>
                  <a:cxn ang="0">
                    <a:pos x="502" y="1651"/>
                  </a:cxn>
                  <a:cxn ang="0">
                    <a:pos x="360" y="1529"/>
                  </a:cxn>
                  <a:cxn ang="0">
                    <a:pos x="169" y="1454"/>
                  </a:cxn>
                  <a:cxn ang="0">
                    <a:pos x="0" y="1436"/>
                  </a:cxn>
                  <a:cxn ang="0">
                    <a:pos x="4" y="1069"/>
                  </a:cxn>
                </a:cxnLst>
                <a:rect l="0" t="0" r="r" b="b"/>
                <a:pathLst>
                  <a:path w="2673" h="3102">
                    <a:moveTo>
                      <a:pt x="4" y="1069"/>
                    </a:moveTo>
                    <a:lnTo>
                      <a:pt x="134" y="1156"/>
                    </a:lnTo>
                    <a:lnTo>
                      <a:pt x="275" y="1247"/>
                    </a:lnTo>
                    <a:lnTo>
                      <a:pt x="526" y="1137"/>
                    </a:lnTo>
                    <a:lnTo>
                      <a:pt x="734" y="1167"/>
                    </a:lnTo>
                    <a:lnTo>
                      <a:pt x="881" y="1197"/>
                    </a:lnTo>
                    <a:lnTo>
                      <a:pt x="1014" y="1217"/>
                    </a:lnTo>
                    <a:lnTo>
                      <a:pt x="1211" y="1032"/>
                    </a:lnTo>
                    <a:lnTo>
                      <a:pt x="1206" y="942"/>
                    </a:lnTo>
                    <a:lnTo>
                      <a:pt x="1324" y="679"/>
                    </a:lnTo>
                    <a:lnTo>
                      <a:pt x="1698" y="110"/>
                    </a:lnTo>
                    <a:lnTo>
                      <a:pt x="1753" y="0"/>
                    </a:lnTo>
                    <a:lnTo>
                      <a:pt x="1915" y="95"/>
                    </a:lnTo>
                    <a:lnTo>
                      <a:pt x="1959" y="259"/>
                    </a:lnTo>
                    <a:lnTo>
                      <a:pt x="2023" y="289"/>
                    </a:lnTo>
                    <a:lnTo>
                      <a:pt x="2033" y="614"/>
                    </a:lnTo>
                    <a:lnTo>
                      <a:pt x="2165" y="1007"/>
                    </a:lnTo>
                    <a:lnTo>
                      <a:pt x="2259" y="1247"/>
                    </a:lnTo>
                    <a:lnTo>
                      <a:pt x="2388" y="1436"/>
                    </a:lnTo>
                    <a:lnTo>
                      <a:pt x="2550" y="1441"/>
                    </a:lnTo>
                    <a:lnTo>
                      <a:pt x="2668" y="1531"/>
                    </a:lnTo>
                    <a:lnTo>
                      <a:pt x="2673" y="1676"/>
                    </a:lnTo>
                    <a:lnTo>
                      <a:pt x="2584" y="1766"/>
                    </a:lnTo>
                    <a:lnTo>
                      <a:pt x="2658" y="1815"/>
                    </a:lnTo>
                    <a:lnTo>
                      <a:pt x="2452" y="1995"/>
                    </a:lnTo>
                    <a:lnTo>
                      <a:pt x="2254" y="2235"/>
                    </a:lnTo>
                    <a:lnTo>
                      <a:pt x="2087" y="2378"/>
                    </a:lnTo>
                    <a:lnTo>
                      <a:pt x="1920" y="2488"/>
                    </a:lnTo>
                    <a:lnTo>
                      <a:pt x="1817" y="2693"/>
                    </a:lnTo>
                    <a:lnTo>
                      <a:pt x="1770" y="2871"/>
                    </a:lnTo>
                    <a:lnTo>
                      <a:pt x="1553" y="3077"/>
                    </a:lnTo>
                    <a:lnTo>
                      <a:pt x="1403" y="3102"/>
                    </a:lnTo>
                    <a:lnTo>
                      <a:pt x="1268" y="2957"/>
                    </a:lnTo>
                    <a:lnTo>
                      <a:pt x="1123" y="2573"/>
                    </a:lnTo>
                    <a:lnTo>
                      <a:pt x="955" y="2443"/>
                    </a:lnTo>
                    <a:lnTo>
                      <a:pt x="871" y="2220"/>
                    </a:lnTo>
                    <a:lnTo>
                      <a:pt x="896" y="2035"/>
                    </a:lnTo>
                    <a:lnTo>
                      <a:pt x="739" y="1945"/>
                    </a:lnTo>
                    <a:lnTo>
                      <a:pt x="727" y="1742"/>
                    </a:lnTo>
                    <a:lnTo>
                      <a:pt x="502" y="1651"/>
                    </a:lnTo>
                    <a:lnTo>
                      <a:pt x="360" y="1529"/>
                    </a:lnTo>
                    <a:lnTo>
                      <a:pt x="169" y="1454"/>
                    </a:lnTo>
                    <a:lnTo>
                      <a:pt x="0" y="1436"/>
                    </a:lnTo>
                    <a:lnTo>
                      <a:pt x="4" y="106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7" name="Freeform 29">
                <a:extLst>
                  <a:ext uri="{FF2B5EF4-FFF2-40B4-BE49-F238E27FC236}">
                    <a16:creationId xmlns:a16="http://schemas.microsoft.com/office/drawing/2014/main" id="{69C16214-A1AB-49D2-A750-A4230B6E7FA6}"/>
                  </a:ext>
                </a:extLst>
              </p:cNvPr>
              <p:cNvSpPr>
                <a:spLocks/>
              </p:cNvSpPr>
              <p:nvPr/>
            </p:nvSpPr>
            <p:spPr bwMode="auto">
              <a:xfrm>
                <a:off x="2072" y="1236"/>
                <a:ext cx="289" cy="148"/>
              </a:xfrm>
              <a:custGeom>
                <a:avLst/>
                <a:gdLst/>
                <a:ahLst/>
                <a:cxnLst>
                  <a:cxn ang="0">
                    <a:pos x="1931" y="105"/>
                  </a:cxn>
                  <a:cxn ang="0">
                    <a:pos x="1700" y="120"/>
                  </a:cxn>
                  <a:cxn ang="0">
                    <a:pos x="1271" y="135"/>
                  </a:cxn>
                  <a:cxn ang="0">
                    <a:pos x="1060" y="40"/>
                  </a:cxn>
                  <a:cxn ang="0">
                    <a:pos x="839" y="55"/>
                  </a:cxn>
                  <a:cxn ang="0">
                    <a:pos x="740" y="190"/>
                  </a:cxn>
                  <a:cxn ang="0">
                    <a:pos x="735" y="309"/>
                  </a:cxn>
                  <a:cxn ang="0">
                    <a:pos x="632" y="359"/>
                  </a:cxn>
                  <a:cxn ang="0">
                    <a:pos x="484" y="389"/>
                  </a:cxn>
                  <a:cxn ang="0">
                    <a:pos x="519" y="299"/>
                  </a:cxn>
                  <a:cxn ang="0">
                    <a:pos x="607" y="240"/>
                  </a:cxn>
                  <a:cxn ang="0">
                    <a:pos x="710" y="45"/>
                  </a:cxn>
                  <a:cxn ang="0">
                    <a:pos x="588" y="0"/>
                  </a:cxn>
                  <a:cxn ang="0">
                    <a:pos x="514" y="120"/>
                  </a:cxn>
                  <a:cxn ang="0">
                    <a:pos x="416" y="279"/>
                  </a:cxn>
                  <a:cxn ang="0">
                    <a:pos x="281" y="242"/>
                  </a:cxn>
                  <a:cxn ang="0">
                    <a:pos x="234" y="410"/>
                  </a:cxn>
                  <a:cxn ang="0">
                    <a:pos x="18" y="617"/>
                  </a:cxn>
                  <a:cxn ang="0">
                    <a:pos x="0" y="763"/>
                  </a:cxn>
                  <a:cxn ang="0">
                    <a:pos x="110" y="821"/>
                  </a:cxn>
                  <a:cxn ang="0">
                    <a:pos x="327" y="683"/>
                  </a:cxn>
                  <a:cxn ang="0">
                    <a:pos x="533" y="508"/>
                  </a:cxn>
                  <a:cxn ang="0">
                    <a:pos x="614" y="572"/>
                  </a:cxn>
                  <a:cxn ang="0">
                    <a:pos x="617" y="757"/>
                  </a:cxn>
                  <a:cxn ang="0">
                    <a:pos x="695" y="982"/>
                  </a:cxn>
                  <a:cxn ang="0">
                    <a:pos x="829" y="997"/>
                  </a:cxn>
                  <a:cxn ang="0">
                    <a:pos x="1060" y="927"/>
                  </a:cxn>
                  <a:cxn ang="0">
                    <a:pos x="1198" y="1002"/>
                  </a:cxn>
                  <a:cxn ang="0">
                    <a:pos x="1405" y="877"/>
                  </a:cxn>
                  <a:cxn ang="0">
                    <a:pos x="1670" y="807"/>
                  </a:cxn>
                  <a:cxn ang="0">
                    <a:pos x="1832" y="538"/>
                  </a:cxn>
                  <a:cxn ang="0">
                    <a:pos x="1916" y="444"/>
                  </a:cxn>
                  <a:cxn ang="0">
                    <a:pos x="1921" y="314"/>
                  </a:cxn>
                  <a:cxn ang="0">
                    <a:pos x="1931" y="105"/>
                  </a:cxn>
                </a:cxnLst>
                <a:rect l="0" t="0" r="r" b="b"/>
                <a:pathLst>
                  <a:path w="1931" h="1002">
                    <a:moveTo>
                      <a:pt x="1931" y="105"/>
                    </a:moveTo>
                    <a:lnTo>
                      <a:pt x="1700" y="120"/>
                    </a:lnTo>
                    <a:lnTo>
                      <a:pt x="1271" y="135"/>
                    </a:lnTo>
                    <a:lnTo>
                      <a:pt x="1060" y="40"/>
                    </a:lnTo>
                    <a:lnTo>
                      <a:pt x="839" y="55"/>
                    </a:lnTo>
                    <a:lnTo>
                      <a:pt x="740" y="190"/>
                    </a:lnTo>
                    <a:lnTo>
                      <a:pt x="735" y="309"/>
                    </a:lnTo>
                    <a:lnTo>
                      <a:pt x="632" y="359"/>
                    </a:lnTo>
                    <a:lnTo>
                      <a:pt x="484" y="389"/>
                    </a:lnTo>
                    <a:lnTo>
                      <a:pt x="519" y="299"/>
                    </a:lnTo>
                    <a:lnTo>
                      <a:pt x="607" y="240"/>
                    </a:lnTo>
                    <a:lnTo>
                      <a:pt x="710" y="45"/>
                    </a:lnTo>
                    <a:lnTo>
                      <a:pt x="588" y="0"/>
                    </a:lnTo>
                    <a:lnTo>
                      <a:pt x="514" y="120"/>
                    </a:lnTo>
                    <a:lnTo>
                      <a:pt x="416" y="279"/>
                    </a:lnTo>
                    <a:lnTo>
                      <a:pt x="281" y="242"/>
                    </a:lnTo>
                    <a:lnTo>
                      <a:pt x="234" y="410"/>
                    </a:lnTo>
                    <a:lnTo>
                      <a:pt x="18" y="617"/>
                    </a:lnTo>
                    <a:lnTo>
                      <a:pt x="0" y="763"/>
                    </a:lnTo>
                    <a:lnTo>
                      <a:pt x="110" y="821"/>
                    </a:lnTo>
                    <a:lnTo>
                      <a:pt x="327" y="683"/>
                    </a:lnTo>
                    <a:lnTo>
                      <a:pt x="533" y="508"/>
                    </a:lnTo>
                    <a:lnTo>
                      <a:pt x="614" y="572"/>
                    </a:lnTo>
                    <a:lnTo>
                      <a:pt x="617" y="757"/>
                    </a:lnTo>
                    <a:lnTo>
                      <a:pt x="695" y="982"/>
                    </a:lnTo>
                    <a:lnTo>
                      <a:pt x="829" y="997"/>
                    </a:lnTo>
                    <a:lnTo>
                      <a:pt x="1060" y="927"/>
                    </a:lnTo>
                    <a:lnTo>
                      <a:pt x="1198" y="1002"/>
                    </a:lnTo>
                    <a:lnTo>
                      <a:pt x="1405" y="877"/>
                    </a:lnTo>
                    <a:lnTo>
                      <a:pt x="1670" y="807"/>
                    </a:lnTo>
                    <a:lnTo>
                      <a:pt x="1832" y="538"/>
                    </a:lnTo>
                    <a:lnTo>
                      <a:pt x="1916" y="444"/>
                    </a:lnTo>
                    <a:lnTo>
                      <a:pt x="1921" y="314"/>
                    </a:lnTo>
                    <a:lnTo>
                      <a:pt x="1931" y="105"/>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8" name="Freeform 30">
                <a:extLst>
                  <a:ext uri="{FF2B5EF4-FFF2-40B4-BE49-F238E27FC236}">
                    <a16:creationId xmlns:a16="http://schemas.microsoft.com/office/drawing/2014/main" id="{287C6316-A7E1-47CB-B76A-386045D4343E}"/>
                  </a:ext>
                </a:extLst>
              </p:cNvPr>
              <p:cNvSpPr>
                <a:spLocks/>
              </p:cNvSpPr>
              <p:nvPr/>
            </p:nvSpPr>
            <p:spPr bwMode="auto">
              <a:xfrm>
                <a:off x="1532" y="2641"/>
                <a:ext cx="572" cy="558"/>
              </a:xfrm>
              <a:custGeom>
                <a:avLst/>
                <a:gdLst/>
                <a:ahLst/>
                <a:cxnLst>
                  <a:cxn ang="0">
                    <a:pos x="303" y="298"/>
                  </a:cxn>
                  <a:cxn ang="0">
                    <a:pos x="409" y="543"/>
                  </a:cxn>
                  <a:cxn ang="0">
                    <a:pos x="305" y="721"/>
                  </a:cxn>
                  <a:cxn ang="0">
                    <a:pos x="216" y="1078"/>
                  </a:cxn>
                  <a:cxn ang="0">
                    <a:pos x="0" y="1411"/>
                  </a:cxn>
                  <a:cxn ang="0">
                    <a:pos x="56" y="1748"/>
                  </a:cxn>
                  <a:cxn ang="0">
                    <a:pos x="171" y="1998"/>
                  </a:cxn>
                  <a:cxn ang="0">
                    <a:pos x="191" y="2218"/>
                  </a:cxn>
                  <a:cxn ang="0">
                    <a:pos x="119" y="2425"/>
                  </a:cxn>
                  <a:cxn ang="0">
                    <a:pos x="74" y="2678"/>
                  </a:cxn>
                  <a:cxn ang="0">
                    <a:pos x="261" y="2723"/>
                  </a:cxn>
                  <a:cxn ang="0">
                    <a:pos x="399" y="2698"/>
                  </a:cxn>
                  <a:cxn ang="0">
                    <a:pos x="709" y="2798"/>
                  </a:cxn>
                  <a:cxn ang="0">
                    <a:pos x="856" y="2698"/>
                  </a:cxn>
                  <a:cxn ang="0">
                    <a:pos x="955" y="2753"/>
                  </a:cxn>
                  <a:cxn ang="0">
                    <a:pos x="1181" y="2783"/>
                  </a:cxn>
                  <a:cxn ang="0">
                    <a:pos x="1283" y="3035"/>
                  </a:cxn>
                  <a:cxn ang="0">
                    <a:pos x="1255" y="3156"/>
                  </a:cxn>
                  <a:cxn ang="0">
                    <a:pos x="1310" y="3381"/>
                  </a:cxn>
                  <a:cxn ang="0">
                    <a:pos x="1338" y="3665"/>
                  </a:cxn>
                  <a:cxn ang="0">
                    <a:pos x="1412" y="3725"/>
                  </a:cxn>
                  <a:cxn ang="0">
                    <a:pos x="1625" y="3685"/>
                  </a:cxn>
                  <a:cxn ang="0">
                    <a:pos x="1801" y="3680"/>
                  </a:cxn>
                  <a:cxn ang="0">
                    <a:pos x="1905" y="3775"/>
                  </a:cxn>
                  <a:cxn ang="0">
                    <a:pos x="2067" y="3655"/>
                  </a:cxn>
                  <a:cxn ang="0">
                    <a:pos x="2126" y="3456"/>
                  </a:cxn>
                  <a:cxn ang="0">
                    <a:pos x="2224" y="3356"/>
                  </a:cxn>
                  <a:cxn ang="0">
                    <a:pos x="2347" y="3116"/>
                  </a:cxn>
                  <a:cxn ang="0">
                    <a:pos x="2688" y="2935"/>
                  </a:cxn>
                  <a:cxn ang="0">
                    <a:pos x="2968" y="2723"/>
                  </a:cxn>
                  <a:cxn ang="0">
                    <a:pos x="3199" y="2384"/>
                  </a:cxn>
                  <a:cxn ang="0">
                    <a:pos x="3469" y="1890"/>
                  </a:cxn>
                  <a:cxn ang="0">
                    <a:pos x="3780" y="1568"/>
                  </a:cxn>
                  <a:cxn ang="0">
                    <a:pos x="3750" y="1426"/>
                  </a:cxn>
                  <a:cxn ang="0">
                    <a:pos x="3819" y="1261"/>
                  </a:cxn>
                  <a:cxn ang="0">
                    <a:pos x="3325" y="1025"/>
                  </a:cxn>
                  <a:cxn ang="0">
                    <a:pos x="3130" y="858"/>
                  </a:cxn>
                  <a:cxn ang="0">
                    <a:pos x="2875" y="870"/>
                  </a:cxn>
                  <a:cxn ang="0">
                    <a:pos x="2818" y="793"/>
                  </a:cxn>
                  <a:cxn ang="0">
                    <a:pos x="2878" y="665"/>
                  </a:cxn>
                  <a:cxn ang="0">
                    <a:pos x="2778" y="610"/>
                  </a:cxn>
                  <a:cxn ang="0">
                    <a:pos x="2713" y="413"/>
                  </a:cxn>
                  <a:cxn ang="0">
                    <a:pos x="2551" y="465"/>
                  </a:cxn>
                  <a:cxn ang="0">
                    <a:pos x="2358" y="480"/>
                  </a:cxn>
                  <a:cxn ang="0">
                    <a:pos x="2283" y="375"/>
                  </a:cxn>
                  <a:cxn ang="0">
                    <a:pos x="2386" y="238"/>
                  </a:cxn>
                  <a:cxn ang="0">
                    <a:pos x="2422" y="129"/>
                  </a:cxn>
                  <a:cxn ang="0">
                    <a:pos x="2376" y="45"/>
                  </a:cxn>
                  <a:cxn ang="0">
                    <a:pos x="2243" y="194"/>
                  </a:cxn>
                  <a:cxn ang="0">
                    <a:pos x="2107" y="230"/>
                  </a:cxn>
                  <a:cxn ang="0">
                    <a:pos x="1977" y="170"/>
                  </a:cxn>
                  <a:cxn ang="0">
                    <a:pos x="1638" y="299"/>
                  </a:cxn>
                  <a:cxn ang="0">
                    <a:pos x="1430" y="119"/>
                  </a:cxn>
                  <a:cxn ang="0">
                    <a:pos x="1286" y="20"/>
                  </a:cxn>
                  <a:cxn ang="0">
                    <a:pos x="1087" y="0"/>
                  </a:cxn>
                  <a:cxn ang="0">
                    <a:pos x="933" y="75"/>
                  </a:cxn>
                  <a:cxn ang="0">
                    <a:pos x="782" y="80"/>
                  </a:cxn>
                  <a:cxn ang="0">
                    <a:pos x="620" y="299"/>
                  </a:cxn>
                  <a:cxn ang="0">
                    <a:pos x="442" y="349"/>
                  </a:cxn>
                  <a:cxn ang="0">
                    <a:pos x="303" y="298"/>
                  </a:cxn>
                </a:cxnLst>
                <a:rect l="0" t="0" r="r" b="b"/>
                <a:pathLst>
                  <a:path w="3819" h="3775">
                    <a:moveTo>
                      <a:pt x="303" y="298"/>
                    </a:moveTo>
                    <a:lnTo>
                      <a:pt x="409" y="543"/>
                    </a:lnTo>
                    <a:lnTo>
                      <a:pt x="305" y="721"/>
                    </a:lnTo>
                    <a:lnTo>
                      <a:pt x="216" y="1078"/>
                    </a:lnTo>
                    <a:lnTo>
                      <a:pt x="0" y="1411"/>
                    </a:lnTo>
                    <a:lnTo>
                      <a:pt x="56" y="1748"/>
                    </a:lnTo>
                    <a:lnTo>
                      <a:pt x="171" y="1998"/>
                    </a:lnTo>
                    <a:lnTo>
                      <a:pt x="191" y="2218"/>
                    </a:lnTo>
                    <a:lnTo>
                      <a:pt x="119" y="2425"/>
                    </a:lnTo>
                    <a:lnTo>
                      <a:pt x="74" y="2678"/>
                    </a:lnTo>
                    <a:lnTo>
                      <a:pt x="261" y="2723"/>
                    </a:lnTo>
                    <a:lnTo>
                      <a:pt x="399" y="2698"/>
                    </a:lnTo>
                    <a:lnTo>
                      <a:pt x="709" y="2798"/>
                    </a:lnTo>
                    <a:lnTo>
                      <a:pt x="856" y="2698"/>
                    </a:lnTo>
                    <a:lnTo>
                      <a:pt x="955" y="2753"/>
                    </a:lnTo>
                    <a:lnTo>
                      <a:pt x="1181" y="2783"/>
                    </a:lnTo>
                    <a:lnTo>
                      <a:pt x="1283" y="3035"/>
                    </a:lnTo>
                    <a:lnTo>
                      <a:pt x="1255" y="3156"/>
                    </a:lnTo>
                    <a:lnTo>
                      <a:pt x="1310" y="3381"/>
                    </a:lnTo>
                    <a:lnTo>
                      <a:pt x="1338" y="3665"/>
                    </a:lnTo>
                    <a:lnTo>
                      <a:pt x="1412" y="3725"/>
                    </a:lnTo>
                    <a:lnTo>
                      <a:pt x="1625" y="3685"/>
                    </a:lnTo>
                    <a:lnTo>
                      <a:pt x="1801" y="3680"/>
                    </a:lnTo>
                    <a:lnTo>
                      <a:pt x="1905" y="3775"/>
                    </a:lnTo>
                    <a:lnTo>
                      <a:pt x="2067" y="3655"/>
                    </a:lnTo>
                    <a:lnTo>
                      <a:pt x="2126" y="3456"/>
                    </a:lnTo>
                    <a:lnTo>
                      <a:pt x="2224" y="3356"/>
                    </a:lnTo>
                    <a:lnTo>
                      <a:pt x="2347" y="3116"/>
                    </a:lnTo>
                    <a:lnTo>
                      <a:pt x="2688" y="2935"/>
                    </a:lnTo>
                    <a:lnTo>
                      <a:pt x="2968" y="2723"/>
                    </a:lnTo>
                    <a:lnTo>
                      <a:pt x="3199" y="2384"/>
                    </a:lnTo>
                    <a:lnTo>
                      <a:pt x="3469" y="1890"/>
                    </a:lnTo>
                    <a:lnTo>
                      <a:pt x="3780" y="1568"/>
                    </a:lnTo>
                    <a:lnTo>
                      <a:pt x="3750" y="1426"/>
                    </a:lnTo>
                    <a:lnTo>
                      <a:pt x="3819" y="1261"/>
                    </a:lnTo>
                    <a:lnTo>
                      <a:pt x="3325" y="1025"/>
                    </a:lnTo>
                    <a:lnTo>
                      <a:pt x="3130" y="858"/>
                    </a:lnTo>
                    <a:lnTo>
                      <a:pt x="2875" y="870"/>
                    </a:lnTo>
                    <a:lnTo>
                      <a:pt x="2818" y="793"/>
                    </a:lnTo>
                    <a:lnTo>
                      <a:pt x="2878" y="665"/>
                    </a:lnTo>
                    <a:lnTo>
                      <a:pt x="2778" y="610"/>
                    </a:lnTo>
                    <a:lnTo>
                      <a:pt x="2713" y="413"/>
                    </a:lnTo>
                    <a:lnTo>
                      <a:pt x="2551" y="465"/>
                    </a:lnTo>
                    <a:lnTo>
                      <a:pt x="2358" y="480"/>
                    </a:lnTo>
                    <a:lnTo>
                      <a:pt x="2283" y="375"/>
                    </a:lnTo>
                    <a:lnTo>
                      <a:pt x="2386" y="238"/>
                    </a:lnTo>
                    <a:lnTo>
                      <a:pt x="2422" y="129"/>
                    </a:lnTo>
                    <a:lnTo>
                      <a:pt x="2376" y="45"/>
                    </a:lnTo>
                    <a:lnTo>
                      <a:pt x="2243" y="194"/>
                    </a:lnTo>
                    <a:lnTo>
                      <a:pt x="2107" y="230"/>
                    </a:lnTo>
                    <a:lnTo>
                      <a:pt x="1977" y="170"/>
                    </a:lnTo>
                    <a:lnTo>
                      <a:pt x="1638" y="299"/>
                    </a:lnTo>
                    <a:lnTo>
                      <a:pt x="1430" y="119"/>
                    </a:lnTo>
                    <a:lnTo>
                      <a:pt x="1286" y="20"/>
                    </a:lnTo>
                    <a:lnTo>
                      <a:pt x="1087" y="0"/>
                    </a:lnTo>
                    <a:lnTo>
                      <a:pt x="933" y="75"/>
                    </a:lnTo>
                    <a:lnTo>
                      <a:pt x="782" y="80"/>
                    </a:lnTo>
                    <a:lnTo>
                      <a:pt x="620" y="299"/>
                    </a:lnTo>
                    <a:lnTo>
                      <a:pt x="442" y="349"/>
                    </a:lnTo>
                    <a:lnTo>
                      <a:pt x="303" y="298"/>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9" name="Freeform 31">
                <a:extLst>
                  <a:ext uri="{FF2B5EF4-FFF2-40B4-BE49-F238E27FC236}">
                    <a16:creationId xmlns:a16="http://schemas.microsoft.com/office/drawing/2014/main" id="{E64A5B25-92DE-4B1B-88EE-CF77A422C59A}"/>
                  </a:ext>
                </a:extLst>
              </p:cNvPr>
              <p:cNvSpPr>
                <a:spLocks/>
              </p:cNvSpPr>
              <p:nvPr/>
            </p:nvSpPr>
            <p:spPr bwMode="auto">
              <a:xfrm>
                <a:off x="1935" y="2858"/>
                <a:ext cx="685" cy="447"/>
              </a:xfrm>
              <a:custGeom>
                <a:avLst/>
                <a:gdLst/>
                <a:ahLst/>
                <a:cxnLst>
                  <a:cxn ang="0">
                    <a:pos x="153" y="1225"/>
                  </a:cxn>
                  <a:cxn ang="0">
                    <a:pos x="614" y="1281"/>
                  </a:cxn>
                  <a:cxn ang="0">
                    <a:pos x="1201" y="1401"/>
                  </a:cxn>
                  <a:cxn ang="0">
                    <a:pos x="1311" y="1712"/>
                  </a:cxn>
                  <a:cxn ang="0">
                    <a:pos x="1451" y="2035"/>
                  </a:cxn>
                  <a:cxn ang="0">
                    <a:pos x="1495" y="2169"/>
                  </a:cxn>
                  <a:cxn ang="0">
                    <a:pos x="1667" y="2277"/>
                  </a:cxn>
                  <a:cxn ang="0">
                    <a:pos x="1781" y="2279"/>
                  </a:cxn>
                  <a:cxn ang="0">
                    <a:pos x="1878" y="2422"/>
                  </a:cxn>
                  <a:cxn ang="0">
                    <a:pos x="2327" y="2095"/>
                  </a:cxn>
                  <a:cxn ang="0">
                    <a:pos x="2807" y="1812"/>
                  </a:cxn>
                  <a:cxn ang="0">
                    <a:pos x="3056" y="1764"/>
                  </a:cxn>
                  <a:cxn ang="0">
                    <a:pos x="3256" y="1656"/>
                  </a:cxn>
                  <a:cxn ang="0">
                    <a:pos x="3390" y="1620"/>
                  </a:cxn>
                  <a:cxn ang="0">
                    <a:pos x="3374" y="1520"/>
                  </a:cxn>
                  <a:cxn ang="0">
                    <a:pos x="3599" y="1524"/>
                  </a:cxn>
                  <a:cxn ang="0">
                    <a:pos x="3603" y="1381"/>
                  </a:cxn>
                  <a:cxn ang="0">
                    <a:pos x="3426" y="1293"/>
                  </a:cxn>
                  <a:cxn ang="0">
                    <a:pos x="3115" y="1305"/>
                  </a:cxn>
                  <a:cxn ang="0">
                    <a:pos x="2895" y="1393"/>
                  </a:cxn>
                  <a:cxn ang="0">
                    <a:pos x="2671" y="1357"/>
                  </a:cxn>
                  <a:cxn ang="0">
                    <a:pos x="2585" y="1187"/>
                  </a:cxn>
                  <a:cxn ang="0">
                    <a:pos x="2701" y="806"/>
                  </a:cxn>
                  <a:cxn ang="0">
                    <a:pos x="2465" y="731"/>
                  </a:cxn>
                  <a:cxn ang="0">
                    <a:pos x="2483" y="409"/>
                  </a:cxn>
                  <a:cxn ang="0">
                    <a:pos x="2327" y="112"/>
                  </a:cxn>
                  <a:cxn ang="0">
                    <a:pos x="1973" y="156"/>
                  </a:cxn>
                  <a:cxn ang="0">
                    <a:pos x="1618" y="219"/>
                  </a:cxn>
                  <a:cxn ang="0">
                    <a:pos x="1272" y="52"/>
                  </a:cxn>
                  <a:cxn ang="0">
                    <a:pos x="874" y="84"/>
                  </a:cxn>
                  <a:cxn ang="0">
                    <a:pos x="407" y="740"/>
                  </a:cxn>
                  <a:cxn ang="0">
                    <a:pos x="0" y="1177"/>
                  </a:cxn>
                </a:cxnLst>
                <a:rect l="0" t="0" r="r" b="b"/>
                <a:pathLst>
                  <a:path w="3661" h="2422">
                    <a:moveTo>
                      <a:pt x="0" y="1177"/>
                    </a:moveTo>
                    <a:lnTo>
                      <a:pt x="153" y="1225"/>
                    </a:lnTo>
                    <a:lnTo>
                      <a:pt x="343" y="1185"/>
                    </a:lnTo>
                    <a:lnTo>
                      <a:pt x="614" y="1281"/>
                    </a:lnTo>
                    <a:lnTo>
                      <a:pt x="803" y="1389"/>
                    </a:lnTo>
                    <a:lnTo>
                      <a:pt x="1201" y="1401"/>
                    </a:lnTo>
                    <a:lnTo>
                      <a:pt x="1333" y="1577"/>
                    </a:lnTo>
                    <a:lnTo>
                      <a:pt x="1311" y="1712"/>
                    </a:lnTo>
                    <a:lnTo>
                      <a:pt x="1390" y="1895"/>
                    </a:lnTo>
                    <a:lnTo>
                      <a:pt x="1451" y="2035"/>
                    </a:lnTo>
                    <a:lnTo>
                      <a:pt x="1407" y="2119"/>
                    </a:lnTo>
                    <a:lnTo>
                      <a:pt x="1495" y="2169"/>
                    </a:lnTo>
                    <a:lnTo>
                      <a:pt x="1731" y="2191"/>
                    </a:lnTo>
                    <a:lnTo>
                      <a:pt x="1667" y="2277"/>
                    </a:lnTo>
                    <a:lnTo>
                      <a:pt x="1691" y="2333"/>
                    </a:lnTo>
                    <a:lnTo>
                      <a:pt x="1781" y="2279"/>
                    </a:lnTo>
                    <a:lnTo>
                      <a:pt x="1839" y="2395"/>
                    </a:lnTo>
                    <a:lnTo>
                      <a:pt x="1878" y="2422"/>
                    </a:lnTo>
                    <a:lnTo>
                      <a:pt x="2099" y="2215"/>
                    </a:lnTo>
                    <a:lnTo>
                      <a:pt x="2327" y="2095"/>
                    </a:lnTo>
                    <a:lnTo>
                      <a:pt x="2465" y="1967"/>
                    </a:lnTo>
                    <a:lnTo>
                      <a:pt x="2807" y="1812"/>
                    </a:lnTo>
                    <a:lnTo>
                      <a:pt x="3000" y="1835"/>
                    </a:lnTo>
                    <a:lnTo>
                      <a:pt x="3056" y="1764"/>
                    </a:lnTo>
                    <a:lnTo>
                      <a:pt x="3174" y="1704"/>
                    </a:lnTo>
                    <a:lnTo>
                      <a:pt x="3256" y="1656"/>
                    </a:lnTo>
                    <a:lnTo>
                      <a:pt x="3367" y="1664"/>
                    </a:lnTo>
                    <a:lnTo>
                      <a:pt x="3390" y="1620"/>
                    </a:lnTo>
                    <a:lnTo>
                      <a:pt x="3339" y="1580"/>
                    </a:lnTo>
                    <a:lnTo>
                      <a:pt x="3374" y="1520"/>
                    </a:lnTo>
                    <a:lnTo>
                      <a:pt x="3493" y="1464"/>
                    </a:lnTo>
                    <a:lnTo>
                      <a:pt x="3599" y="1524"/>
                    </a:lnTo>
                    <a:lnTo>
                      <a:pt x="3661" y="1485"/>
                    </a:lnTo>
                    <a:lnTo>
                      <a:pt x="3603" y="1381"/>
                    </a:lnTo>
                    <a:lnTo>
                      <a:pt x="3516" y="1317"/>
                    </a:lnTo>
                    <a:lnTo>
                      <a:pt x="3426" y="1293"/>
                    </a:lnTo>
                    <a:lnTo>
                      <a:pt x="3343" y="1213"/>
                    </a:lnTo>
                    <a:lnTo>
                      <a:pt x="3115" y="1305"/>
                    </a:lnTo>
                    <a:lnTo>
                      <a:pt x="2961" y="1283"/>
                    </a:lnTo>
                    <a:lnTo>
                      <a:pt x="2895" y="1393"/>
                    </a:lnTo>
                    <a:lnTo>
                      <a:pt x="2773" y="1423"/>
                    </a:lnTo>
                    <a:lnTo>
                      <a:pt x="2671" y="1357"/>
                    </a:lnTo>
                    <a:lnTo>
                      <a:pt x="2681" y="1269"/>
                    </a:lnTo>
                    <a:lnTo>
                      <a:pt x="2585" y="1187"/>
                    </a:lnTo>
                    <a:lnTo>
                      <a:pt x="2622" y="902"/>
                    </a:lnTo>
                    <a:lnTo>
                      <a:pt x="2701" y="806"/>
                    </a:lnTo>
                    <a:lnTo>
                      <a:pt x="2642" y="742"/>
                    </a:lnTo>
                    <a:lnTo>
                      <a:pt x="2465" y="731"/>
                    </a:lnTo>
                    <a:lnTo>
                      <a:pt x="2406" y="515"/>
                    </a:lnTo>
                    <a:lnTo>
                      <a:pt x="2483" y="409"/>
                    </a:lnTo>
                    <a:lnTo>
                      <a:pt x="2406" y="203"/>
                    </a:lnTo>
                    <a:lnTo>
                      <a:pt x="2327" y="112"/>
                    </a:lnTo>
                    <a:lnTo>
                      <a:pt x="2181" y="132"/>
                    </a:lnTo>
                    <a:lnTo>
                      <a:pt x="1973" y="156"/>
                    </a:lnTo>
                    <a:lnTo>
                      <a:pt x="1784" y="156"/>
                    </a:lnTo>
                    <a:lnTo>
                      <a:pt x="1618" y="219"/>
                    </a:lnTo>
                    <a:lnTo>
                      <a:pt x="1508" y="60"/>
                    </a:lnTo>
                    <a:lnTo>
                      <a:pt x="1272" y="52"/>
                    </a:lnTo>
                    <a:lnTo>
                      <a:pt x="1051" y="0"/>
                    </a:lnTo>
                    <a:lnTo>
                      <a:pt x="874" y="84"/>
                    </a:lnTo>
                    <a:lnTo>
                      <a:pt x="622" y="344"/>
                    </a:lnTo>
                    <a:lnTo>
                      <a:pt x="407" y="740"/>
                    </a:lnTo>
                    <a:lnTo>
                      <a:pt x="223" y="1007"/>
                    </a:lnTo>
                    <a:lnTo>
                      <a:pt x="0" y="1177"/>
                    </a:lnTo>
                    <a:close/>
                  </a:path>
                </a:pathLst>
              </a:custGeom>
              <a:solidFill>
                <a:srgbClr val="F5B90F"/>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0" name="Freeform 32">
                <a:extLst>
                  <a:ext uri="{FF2B5EF4-FFF2-40B4-BE49-F238E27FC236}">
                    <a16:creationId xmlns:a16="http://schemas.microsoft.com/office/drawing/2014/main" id="{6E652E34-EE64-47CF-A5FA-505F2D3383C8}"/>
                  </a:ext>
                </a:extLst>
              </p:cNvPr>
              <p:cNvSpPr>
                <a:spLocks/>
              </p:cNvSpPr>
              <p:nvPr/>
            </p:nvSpPr>
            <p:spPr bwMode="auto">
              <a:xfrm>
                <a:off x="1787" y="3075"/>
                <a:ext cx="492" cy="343"/>
              </a:xfrm>
              <a:custGeom>
                <a:avLst/>
                <a:gdLst/>
                <a:ahLst/>
                <a:cxnLst>
                  <a:cxn ang="0">
                    <a:pos x="203" y="839"/>
                  </a:cxn>
                  <a:cxn ang="0">
                    <a:pos x="173" y="954"/>
                  </a:cxn>
                  <a:cxn ang="0">
                    <a:pos x="290" y="1004"/>
                  </a:cxn>
                  <a:cxn ang="0">
                    <a:pos x="246" y="1119"/>
                  </a:cxn>
                  <a:cxn ang="0">
                    <a:pos x="266" y="1244"/>
                  </a:cxn>
                  <a:cxn ang="0">
                    <a:pos x="206" y="1359"/>
                  </a:cxn>
                  <a:cxn ang="0">
                    <a:pos x="241" y="1448"/>
                  </a:cxn>
                  <a:cxn ang="0">
                    <a:pos x="94" y="1542"/>
                  </a:cxn>
                  <a:cxn ang="0">
                    <a:pos x="0" y="1587"/>
                  </a:cxn>
                  <a:cxn ang="0">
                    <a:pos x="0" y="1707"/>
                  </a:cxn>
                  <a:cxn ang="0">
                    <a:pos x="94" y="1722"/>
                  </a:cxn>
                  <a:cxn ang="0">
                    <a:pos x="236" y="1632"/>
                  </a:cxn>
                  <a:cxn ang="0">
                    <a:pos x="384" y="1717"/>
                  </a:cxn>
                  <a:cxn ang="0">
                    <a:pos x="399" y="1897"/>
                  </a:cxn>
                  <a:cxn ang="0">
                    <a:pos x="455" y="2045"/>
                  </a:cxn>
                  <a:cxn ang="0">
                    <a:pos x="718" y="2058"/>
                  </a:cxn>
                  <a:cxn ang="0">
                    <a:pos x="1170" y="2150"/>
                  </a:cxn>
                  <a:cxn ang="0">
                    <a:pos x="1590" y="2320"/>
                  </a:cxn>
                  <a:cxn ang="0">
                    <a:pos x="1703" y="2255"/>
                  </a:cxn>
                  <a:cxn ang="0">
                    <a:pos x="1693" y="2180"/>
                  </a:cxn>
                  <a:cxn ang="0">
                    <a:pos x="1728" y="2080"/>
                  </a:cxn>
                  <a:cxn ang="0">
                    <a:pos x="1885" y="2060"/>
                  </a:cxn>
                  <a:cxn ang="0">
                    <a:pos x="2038" y="1977"/>
                  </a:cxn>
                  <a:cxn ang="0">
                    <a:pos x="2254" y="1957"/>
                  </a:cxn>
                  <a:cxn ang="0">
                    <a:pos x="2452" y="2045"/>
                  </a:cxn>
                  <a:cxn ang="0">
                    <a:pos x="2622" y="2043"/>
                  </a:cxn>
                  <a:cxn ang="0">
                    <a:pos x="2737" y="1956"/>
                  </a:cxn>
                  <a:cxn ang="0">
                    <a:pos x="2919" y="1942"/>
                  </a:cxn>
                  <a:cxn ang="0">
                    <a:pos x="2994" y="2017"/>
                  </a:cxn>
                  <a:cxn ang="0">
                    <a:pos x="3140" y="1767"/>
                  </a:cxn>
                  <a:cxn ang="0">
                    <a:pos x="3037" y="1722"/>
                  </a:cxn>
                  <a:cxn ang="0">
                    <a:pos x="3013" y="1642"/>
                  </a:cxn>
                  <a:cxn ang="0">
                    <a:pos x="3140" y="1642"/>
                  </a:cxn>
                  <a:cxn ang="0">
                    <a:pos x="3184" y="1572"/>
                  </a:cxn>
                  <a:cxn ang="0">
                    <a:pos x="3288" y="1524"/>
                  </a:cxn>
                  <a:cxn ang="0">
                    <a:pos x="3216" y="1380"/>
                  </a:cxn>
                  <a:cxn ang="0">
                    <a:pos x="3105" y="1446"/>
                  </a:cxn>
                  <a:cxn ang="0">
                    <a:pos x="3072" y="1379"/>
                  </a:cxn>
                  <a:cxn ang="0">
                    <a:pos x="3155" y="1269"/>
                  </a:cxn>
                  <a:cxn ang="0">
                    <a:pos x="2862" y="1243"/>
                  </a:cxn>
                  <a:cxn ang="0">
                    <a:pos x="2747" y="1179"/>
                  </a:cxn>
                  <a:cxn ang="0">
                    <a:pos x="2805" y="1074"/>
                  </a:cxn>
                  <a:cxn ang="0">
                    <a:pos x="2628" y="671"/>
                  </a:cxn>
                  <a:cxn ang="0">
                    <a:pos x="2658" y="506"/>
                  </a:cxn>
                  <a:cxn ang="0">
                    <a:pos x="2490" y="282"/>
                  </a:cxn>
                  <a:cxn ang="0">
                    <a:pos x="1989" y="267"/>
                  </a:cxn>
                  <a:cxn ang="0">
                    <a:pos x="1753" y="132"/>
                  </a:cxn>
                  <a:cxn ang="0">
                    <a:pos x="1418" y="12"/>
                  </a:cxn>
                  <a:cxn ang="0">
                    <a:pos x="1176" y="62"/>
                  </a:cxn>
                  <a:cxn ang="0">
                    <a:pos x="988" y="0"/>
                  </a:cxn>
                  <a:cxn ang="0">
                    <a:pos x="650" y="182"/>
                  </a:cxn>
                  <a:cxn ang="0">
                    <a:pos x="533" y="412"/>
                  </a:cxn>
                  <a:cxn ang="0">
                    <a:pos x="424" y="527"/>
                  </a:cxn>
                  <a:cxn ang="0">
                    <a:pos x="369" y="718"/>
                  </a:cxn>
                  <a:cxn ang="0">
                    <a:pos x="203" y="839"/>
                  </a:cxn>
                </a:cxnLst>
                <a:rect l="0" t="0" r="r" b="b"/>
                <a:pathLst>
                  <a:path w="3288" h="2320">
                    <a:moveTo>
                      <a:pt x="203" y="839"/>
                    </a:moveTo>
                    <a:lnTo>
                      <a:pt x="173" y="954"/>
                    </a:lnTo>
                    <a:lnTo>
                      <a:pt x="290" y="1004"/>
                    </a:lnTo>
                    <a:lnTo>
                      <a:pt x="246" y="1119"/>
                    </a:lnTo>
                    <a:lnTo>
                      <a:pt x="266" y="1244"/>
                    </a:lnTo>
                    <a:lnTo>
                      <a:pt x="206" y="1359"/>
                    </a:lnTo>
                    <a:lnTo>
                      <a:pt x="241" y="1448"/>
                    </a:lnTo>
                    <a:lnTo>
                      <a:pt x="94" y="1542"/>
                    </a:lnTo>
                    <a:lnTo>
                      <a:pt x="0" y="1587"/>
                    </a:lnTo>
                    <a:lnTo>
                      <a:pt x="0" y="1707"/>
                    </a:lnTo>
                    <a:lnTo>
                      <a:pt x="94" y="1722"/>
                    </a:lnTo>
                    <a:lnTo>
                      <a:pt x="236" y="1632"/>
                    </a:lnTo>
                    <a:lnTo>
                      <a:pt x="384" y="1717"/>
                    </a:lnTo>
                    <a:lnTo>
                      <a:pt x="399" y="1897"/>
                    </a:lnTo>
                    <a:lnTo>
                      <a:pt x="455" y="2045"/>
                    </a:lnTo>
                    <a:lnTo>
                      <a:pt x="718" y="2058"/>
                    </a:lnTo>
                    <a:lnTo>
                      <a:pt x="1170" y="2150"/>
                    </a:lnTo>
                    <a:lnTo>
                      <a:pt x="1590" y="2320"/>
                    </a:lnTo>
                    <a:lnTo>
                      <a:pt x="1703" y="2255"/>
                    </a:lnTo>
                    <a:lnTo>
                      <a:pt x="1693" y="2180"/>
                    </a:lnTo>
                    <a:lnTo>
                      <a:pt x="1728" y="2080"/>
                    </a:lnTo>
                    <a:lnTo>
                      <a:pt x="1885" y="2060"/>
                    </a:lnTo>
                    <a:lnTo>
                      <a:pt x="2038" y="1977"/>
                    </a:lnTo>
                    <a:lnTo>
                      <a:pt x="2254" y="1957"/>
                    </a:lnTo>
                    <a:lnTo>
                      <a:pt x="2452" y="2045"/>
                    </a:lnTo>
                    <a:lnTo>
                      <a:pt x="2622" y="2043"/>
                    </a:lnTo>
                    <a:lnTo>
                      <a:pt x="2737" y="1956"/>
                    </a:lnTo>
                    <a:lnTo>
                      <a:pt x="2919" y="1942"/>
                    </a:lnTo>
                    <a:lnTo>
                      <a:pt x="2994" y="2017"/>
                    </a:lnTo>
                    <a:lnTo>
                      <a:pt x="3140" y="1767"/>
                    </a:lnTo>
                    <a:lnTo>
                      <a:pt x="3037" y="1722"/>
                    </a:lnTo>
                    <a:lnTo>
                      <a:pt x="3013" y="1642"/>
                    </a:lnTo>
                    <a:lnTo>
                      <a:pt x="3140" y="1642"/>
                    </a:lnTo>
                    <a:lnTo>
                      <a:pt x="3184" y="1572"/>
                    </a:lnTo>
                    <a:lnTo>
                      <a:pt x="3288" y="1524"/>
                    </a:lnTo>
                    <a:lnTo>
                      <a:pt x="3216" y="1380"/>
                    </a:lnTo>
                    <a:lnTo>
                      <a:pt x="3105" y="1446"/>
                    </a:lnTo>
                    <a:lnTo>
                      <a:pt x="3072" y="1379"/>
                    </a:lnTo>
                    <a:lnTo>
                      <a:pt x="3155" y="1269"/>
                    </a:lnTo>
                    <a:lnTo>
                      <a:pt x="2862" y="1243"/>
                    </a:lnTo>
                    <a:lnTo>
                      <a:pt x="2747" y="1179"/>
                    </a:lnTo>
                    <a:lnTo>
                      <a:pt x="2805" y="1074"/>
                    </a:lnTo>
                    <a:lnTo>
                      <a:pt x="2628" y="671"/>
                    </a:lnTo>
                    <a:lnTo>
                      <a:pt x="2658" y="506"/>
                    </a:lnTo>
                    <a:lnTo>
                      <a:pt x="2490" y="282"/>
                    </a:lnTo>
                    <a:lnTo>
                      <a:pt x="1989" y="267"/>
                    </a:lnTo>
                    <a:lnTo>
                      <a:pt x="1753" y="132"/>
                    </a:lnTo>
                    <a:lnTo>
                      <a:pt x="1418" y="12"/>
                    </a:lnTo>
                    <a:lnTo>
                      <a:pt x="1176" y="62"/>
                    </a:lnTo>
                    <a:lnTo>
                      <a:pt x="988" y="0"/>
                    </a:lnTo>
                    <a:lnTo>
                      <a:pt x="650" y="182"/>
                    </a:lnTo>
                    <a:lnTo>
                      <a:pt x="533" y="412"/>
                    </a:lnTo>
                    <a:lnTo>
                      <a:pt x="424" y="527"/>
                    </a:lnTo>
                    <a:lnTo>
                      <a:pt x="369" y="718"/>
                    </a:lnTo>
                    <a:lnTo>
                      <a:pt x="203" y="839"/>
                    </a:lnTo>
                    <a:close/>
                  </a:path>
                </a:pathLst>
              </a:custGeom>
              <a:solidFill>
                <a:srgbClr val="00BCFF"/>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1" name="Freeform 33">
                <a:extLst>
                  <a:ext uri="{FF2B5EF4-FFF2-40B4-BE49-F238E27FC236}">
                    <a16:creationId xmlns:a16="http://schemas.microsoft.com/office/drawing/2014/main" id="{7FD895DD-8EF3-472F-81AA-9E973CA38E5B}"/>
                  </a:ext>
                </a:extLst>
              </p:cNvPr>
              <p:cNvSpPr>
                <a:spLocks/>
              </p:cNvSpPr>
              <p:nvPr/>
            </p:nvSpPr>
            <p:spPr bwMode="auto">
              <a:xfrm>
                <a:off x="1846" y="3362"/>
                <a:ext cx="393" cy="267"/>
              </a:xfrm>
              <a:custGeom>
                <a:avLst/>
                <a:gdLst/>
                <a:ahLst/>
                <a:cxnLst>
                  <a:cxn ang="0">
                    <a:pos x="59" y="103"/>
                  </a:cxn>
                  <a:cxn ang="0">
                    <a:pos x="15" y="298"/>
                  </a:cxn>
                  <a:cxn ang="0">
                    <a:pos x="0" y="552"/>
                  </a:cxn>
                  <a:cxn ang="0">
                    <a:pos x="788" y="662"/>
                  </a:cxn>
                  <a:cxn ang="0">
                    <a:pos x="945" y="767"/>
                  </a:cxn>
                  <a:cxn ang="0">
                    <a:pos x="1209" y="878"/>
                  </a:cxn>
                  <a:cxn ang="0">
                    <a:pos x="1414" y="1063"/>
                  </a:cxn>
                  <a:cxn ang="0">
                    <a:pos x="1507" y="1263"/>
                  </a:cxn>
                  <a:cxn ang="0">
                    <a:pos x="1777" y="1376"/>
                  </a:cxn>
                  <a:cxn ang="0">
                    <a:pos x="1922" y="1361"/>
                  </a:cxn>
                  <a:cxn ang="0">
                    <a:pos x="1819" y="1554"/>
                  </a:cxn>
                  <a:cxn ang="0">
                    <a:pos x="1820" y="1720"/>
                  </a:cxn>
                  <a:cxn ang="0">
                    <a:pos x="1909" y="1810"/>
                  </a:cxn>
                  <a:cxn ang="0">
                    <a:pos x="2219" y="1540"/>
                  </a:cxn>
                  <a:cxn ang="0">
                    <a:pos x="2435" y="1456"/>
                  </a:cxn>
                  <a:cxn ang="0">
                    <a:pos x="2377" y="1346"/>
                  </a:cxn>
                  <a:cxn ang="0">
                    <a:pos x="2480" y="1241"/>
                  </a:cxn>
                  <a:cxn ang="0">
                    <a:pos x="2618" y="887"/>
                  </a:cxn>
                  <a:cxn ang="0">
                    <a:pos x="2569" y="732"/>
                  </a:cxn>
                  <a:cxn ang="0">
                    <a:pos x="2584" y="522"/>
                  </a:cxn>
                  <a:cxn ang="0">
                    <a:pos x="2628" y="243"/>
                  </a:cxn>
                  <a:cxn ang="0">
                    <a:pos x="2599" y="75"/>
                  </a:cxn>
                  <a:cxn ang="0">
                    <a:pos x="2527" y="0"/>
                  </a:cxn>
                  <a:cxn ang="0">
                    <a:pos x="2342" y="15"/>
                  </a:cxn>
                  <a:cxn ang="0">
                    <a:pos x="2229" y="100"/>
                  </a:cxn>
                  <a:cxn ang="0">
                    <a:pos x="2052" y="103"/>
                  </a:cxn>
                  <a:cxn ang="0">
                    <a:pos x="1862" y="15"/>
                  </a:cxn>
                  <a:cxn ang="0">
                    <a:pos x="1643" y="36"/>
                  </a:cxn>
                  <a:cxn ang="0">
                    <a:pos x="1489" y="118"/>
                  </a:cxn>
                  <a:cxn ang="0">
                    <a:pos x="1334" y="138"/>
                  </a:cxn>
                  <a:cxn ang="0">
                    <a:pos x="1301" y="238"/>
                  </a:cxn>
                  <a:cxn ang="0">
                    <a:pos x="1306" y="315"/>
                  </a:cxn>
                  <a:cxn ang="0">
                    <a:pos x="1196" y="377"/>
                  </a:cxn>
                  <a:cxn ang="0">
                    <a:pos x="788" y="213"/>
                  </a:cxn>
                  <a:cxn ang="0">
                    <a:pos x="330" y="118"/>
                  </a:cxn>
                  <a:cxn ang="0">
                    <a:pos x="59" y="103"/>
                  </a:cxn>
                </a:cxnLst>
                <a:rect l="0" t="0" r="r" b="b"/>
                <a:pathLst>
                  <a:path w="2628" h="1810">
                    <a:moveTo>
                      <a:pt x="59" y="103"/>
                    </a:moveTo>
                    <a:lnTo>
                      <a:pt x="15" y="298"/>
                    </a:lnTo>
                    <a:lnTo>
                      <a:pt x="0" y="552"/>
                    </a:lnTo>
                    <a:lnTo>
                      <a:pt x="788" y="662"/>
                    </a:lnTo>
                    <a:lnTo>
                      <a:pt x="945" y="767"/>
                    </a:lnTo>
                    <a:lnTo>
                      <a:pt x="1209" y="878"/>
                    </a:lnTo>
                    <a:lnTo>
                      <a:pt x="1414" y="1063"/>
                    </a:lnTo>
                    <a:lnTo>
                      <a:pt x="1507" y="1263"/>
                    </a:lnTo>
                    <a:lnTo>
                      <a:pt x="1777" y="1376"/>
                    </a:lnTo>
                    <a:lnTo>
                      <a:pt x="1922" y="1361"/>
                    </a:lnTo>
                    <a:lnTo>
                      <a:pt x="1819" y="1554"/>
                    </a:lnTo>
                    <a:lnTo>
                      <a:pt x="1820" y="1720"/>
                    </a:lnTo>
                    <a:lnTo>
                      <a:pt x="1909" y="1810"/>
                    </a:lnTo>
                    <a:lnTo>
                      <a:pt x="2219" y="1540"/>
                    </a:lnTo>
                    <a:lnTo>
                      <a:pt x="2435" y="1456"/>
                    </a:lnTo>
                    <a:lnTo>
                      <a:pt x="2377" y="1346"/>
                    </a:lnTo>
                    <a:lnTo>
                      <a:pt x="2480" y="1241"/>
                    </a:lnTo>
                    <a:lnTo>
                      <a:pt x="2618" y="887"/>
                    </a:lnTo>
                    <a:lnTo>
                      <a:pt x="2569" y="732"/>
                    </a:lnTo>
                    <a:lnTo>
                      <a:pt x="2584" y="522"/>
                    </a:lnTo>
                    <a:lnTo>
                      <a:pt x="2628" y="243"/>
                    </a:lnTo>
                    <a:lnTo>
                      <a:pt x="2599" y="75"/>
                    </a:lnTo>
                    <a:lnTo>
                      <a:pt x="2527" y="0"/>
                    </a:lnTo>
                    <a:lnTo>
                      <a:pt x="2342" y="15"/>
                    </a:lnTo>
                    <a:lnTo>
                      <a:pt x="2229" y="100"/>
                    </a:lnTo>
                    <a:lnTo>
                      <a:pt x="2052" y="103"/>
                    </a:lnTo>
                    <a:lnTo>
                      <a:pt x="1862" y="15"/>
                    </a:lnTo>
                    <a:lnTo>
                      <a:pt x="1643" y="36"/>
                    </a:lnTo>
                    <a:lnTo>
                      <a:pt x="1489" y="118"/>
                    </a:lnTo>
                    <a:lnTo>
                      <a:pt x="1334" y="138"/>
                    </a:lnTo>
                    <a:lnTo>
                      <a:pt x="1301" y="238"/>
                    </a:lnTo>
                    <a:lnTo>
                      <a:pt x="1306" y="315"/>
                    </a:lnTo>
                    <a:lnTo>
                      <a:pt x="1196" y="377"/>
                    </a:lnTo>
                    <a:lnTo>
                      <a:pt x="788" y="213"/>
                    </a:lnTo>
                    <a:lnTo>
                      <a:pt x="330" y="118"/>
                    </a:lnTo>
                    <a:lnTo>
                      <a:pt x="59" y="103"/>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2" name="Freeform 34">
                <a:extLst>
                  <a:ext uri="{FF2B5EF4-FFF2-40B4-BE49-F238E27FC236}">
                    <a16:creationId xmlns:a16="http://schemas.microsoft.com/office/drawing/2014/main" id="{FCEAC2A1-B94D-4334-A4E1-7A85A3BD5CE6}"/>
                  </a:ext>
                </a:extLst>
              </p:cNvPr>
              <p:cNvSpPr>
                <a:spLocks/>
              </p:cNvSpPr>
              <p:nvPr/>
            </p:nvSpPr>
            <p:spPr bwMode="auto">
              <a:xfrm>
                <a:off x="1542" y="3444"/>
                <a:ext cx="592" cy="532"/>
              </a:xfrm>
              <a:custGeom>
                <a:avLst/>
                <a:gdLst/>
                <a:ahLst/>
                <a:cxnLst>
                  <a:cxn ang="0">
                    <a:pos x="0" y="1342"/>
                  </a:cxn>
                  <a:cxn ang="0">
                    <a:pos x="134" y="1185"/>
                  </a:cxn>
                  <a:cxn ang="0">
                    <a:pos x="317" y="1008"/>
                  </a:cxn>
                  <a:cxn ang="0">
                    <a:pos x="515" y="765"/>
                  </a:cxn>
                  <a:cxn ang="0">
                    <a:pos x="759" y="552"/>
                  </a:cxn>
                  <a:cxn ang="0">
                    <a:pos x="971" y="366"/>
                  </a:cxn>
                  <a:cxn ang="0">
                    <a:pos x="1270" y="155"/>
                  </a:cxn>
                  <a:cxn ang="0">
                    <a:pos x="1626" y="0"/>
                  </a:cxn>
                  <a:cxn ang="0">
                    <a:pos x="2252" y="86"/>
                  </a:cxn>
                  <a:cxn ang="0">
                    <a:pos x="2380" y="171"/>
                  </a:cxn>
                  <a:cxn ang="0">
                    <a:pos x="2593" y="262"/>
                  </a:cxn>
                  <a:cxn ang="0">
                    <a:pos x="2758" y="410"/>
                  </a:cxn>
                  <a:cxn ang="0">
                    <a:pos x="2829" y="566"/>
                  </a:cxn>
                  <a:cxn ang="0">
                    <a:pos x="3046" y="657"/>
                  </a:cxn>
                  <a:cxn ang="0">
                    <a:pos x="3164" y="645"/>
                  </a:cxn>
                  <a:cxn ang="0">
                    <a:pos x="3081" y="801"/>
                  </a:cxn>
                  <a:cxn ang="0">
                    <a:pos x="3081" y="933"/>
                  </a:cxn>
                  <a:cxn ang="0">
                    <a:pos x="3152" y="1005"/>
                  </a:cxn>
                  <a:cxn ang="0">
                    <a:pos x="3010" y="1232"/>
                  </a:cxn>
                  <a:cxn ang="0">
                    <a:pos x="2751" y="1703"/>
                  </a:cxn>
                  <a:cxn ang="0">
                    <a:pos x="2558" y="1894"/>
                  </a:cxn>
                  <a:cxn ang="0">
                    <a:pos x="2231" y="2122"/>
                  </a:cxn>
                  <a:cxn ang="0">
                    <a:pos x="2207" y="2106"/>
                  </a:cxn>
                  <a:cxn ang="0">
                    <a:pos x="2349" y="2010"/>
                  </a:cxn>
                  <a:cxn ang="0">
                    <a:pos x="2479" y="1890"/>
                  </a:cxn>
                  <a:cxn ang="0">
                    <a:pos x="2502" y="1775"/>
                  </a:cxn>
                  <a:cxn ang="0">
                    <a:pos x="2593" y="1751"/>
                  </a:cxn>
                  <a:cxn ang="0">
                    <a:pos x="2688" y="1631"/>
                  </a:cxn>
                  <a:cxn ang="0">
                    <a:pos x="2735" y="1559"/>
                  </a:cxn>
                  <a:cxn ang="0">
                    <a:pos x="2762" y="1451"/>
                  </a:cxn>
                  <a:cxn ang="0">
                    <a:pos x="2739" y="1376"/>
                  </a:cxn>
                  <a:cxn ang="0">
                    <a:pos x="2640" y="1436"/>
                  </a:cxn>
                  <a:cxn ang="0">
                    <a:pos x="2526" y="1459"/>
                  </a:cxn>
                  <a:cxn ang="0">
                    <a:pos x="2439" y="1627"/>
                  </a:cxn>
                  <a:cxn ang="0">
                    <a:pos x="2384" y="1771"/>
                  </a:cxn>
                  <a:cxn ang="0">
                    <a:pos x="2215" y="1858"/>
                  </a:cxn>
                  <a:cxn ang="0">
                    <a:pos x="2120" y="1986"/>
                  </a:cxn>
                  <a:cxn ang="0">
                    <a:pos x="2054" y="2130"/>
                  </a:cxn>
                  <a:cxn ang="0">
                    <a:pos x="2014" y="2309"/>
                  </a:cxn>
                  <a:cxn ang="0">
                    <a:pos x="1912" y="2553"/>
                  </a:cxn>
                  <a:cxn ang="0">
                    <a:pos x="1719" y="2744"/>
                  </a:cxn>
                  <a:cxn ang="0">
                    <a:pos x="1560" y="2882"/>
                  </a:cxn>
                  <a:cxn ang="0">
                    <a:pos x="1483" y="2840"/>
                  </a:cxn>
                  <a:cxn ang="0">
                    <a:pos x="1506" y="2597"/>
                  </a:cxn>
                  <a:cxn ang="0">
                    <a:pos x="1699" y="2445"/>
                  </a:cxn>
                  <a:cxn ang="0">
                    <a:pos x="1522" y="2321"/>
                  </a:cxn>
                  <a:cxn ang="0">
                    <a:pos x="1475" y="2170"/>
                  </a:cxn>
                  <a:cxn ang="0">
                    <a:pos x="593" y="1555"/>
                  </a:cxn>
                  <a:cxn ang="0">
                    <a:pos x="455" y="1412"/>
                  </a:cxn>
                  <a:cxn ang="0">
                    <a:pos x="313" y="1268"/>
                  </a:cxn>
                  <a:cxn ang="0">
                    <a:pos x="207" y="1284"/>
                  </a:cxn>
                  <a:cxn ang="0">
                    <a:pos x="174" y="1365"/>
                  </a:cxn>
                  <a:cxn ang="0">
                    <a:pos x="0" y="1342"/>
                  </a:cxn>
                </a:cxnLst>
                <a:rect l="0" t="0" r="r" b="b"/>
                <a:pathLst>
                  <a:path w="3164" h="2882">
                    <a:moveTo>
                      <a:pt x="0" y="1342"/>
                    </a:moveTo>
                    <a:lnTo>
                      <a:pt x="134" y="1185"/>
                    </a:lnTo>
                    <a:lnTo>
                      <a:pt x="317" y="1008"/>
                    </a:lnTo>
                    <a:lnTo>
                      <a:pt x="515" y="765"/>
                    </a:lnTo>
                    <a:lnTo>
                      <a:pt x="759" y="552"/>
                    </a:lnTo>
                    <a:lnTo>
                      <a:pt x="971" y="366"/>
                    </a:lnTo>
                    <a:lnTo>
                      <a:pt x="1270" y="155"/>
                    </a:lnTo>
                    <a:lnTo>
                      <a:pt x="1626" y="0"/>
                    </a:lnTo>
                    <a:lnTo>
                      <a:pt x="2252" y="86"/>
                    </a:lnTo>
                    <a:lnTo>
                      <a:pt x="2380" y="171"/>
                    </a:lnTo>
                    <a:lnTo>
                      <a:pt x="2593" y="262"/>
                    </a:lnTo>
                    <a:lnTo>
                      <a:pt x="2758" y="410"/>
                    </a:lnTo>
                    <a:lnTo>
                      <a:pt x="2829" y="566"/>
                    </a:lnTo>
                    <a:lnTo>
                      <a:pt x="3046" y="657"/>
                    </a:lnTo>
                    <a:lnTo>
                      <a:pt x="3164" y="645"/>
                    </a:lnTo>
                    <a:lnTo>
                      <a:pt x="3081" y="801"/>
                    </a:lnTo>
                    <a:lnTo>
                      <a:pt x="3081" y="933"/>
                    </a:lnTo>
                    <a:lnTo>
                      <a:pt x="3152" y="1005"/>
                    </a:lnTo>
                    <a:lnTo>
                      <a:pt x="3010" y="1232"/>
                    </a:lnTo>
                    <a:lnTo>
                      <a:pt x="2751" y="1703"/>
                    </a:lnTo>
                    <a:lnTo>
                      <a:pt x="2558" y="1894"/>
                    </a:lnTo>
                    <a:lnTo>
                      <a:pt x="2231" y="2122"/>
                    </a:lnTo>
                    <a:lnTo>
                      <a:pt x="2207" y="2106"/>
                    </a:lnTo>
                    <a:lnTo>
                      <a:pt x="2349" y="2010"/>
                    </a:lnTo>
                    <a:lnTo>
                      <a:pt x="2479" y="1890"/>
                    </a:lnTo>
                    <a:lnTo>
                      <a:pt x="2502" y="1775"/>
                    </a:lnTo>
                    <a:lnTo>
                      <a:pt x="2593" y="1751"/>
                    </a:lnTo>
                    <a:lnTo>
                      <a:pt x="2688" y="1631"/>
                    </a:lnTo>
                    <a:lnTo>
                      <a:pt x="2735" y="1559"/>
                    </a:lnTo>
                    <a:lnTo>
                      <a:pt x="2762" y="1451"/>
                    </a:lnTo>
                    <a:lnTo>
                      <a:pt x="2739" y="1376"/>
                    </a:lnTo>
                    <a:lnTo>
                      <a:pt x="2640" y="1436"/>
                    </a:lnTo>
                    <a:lnTo>
                      <a:pt x="2526" y="1459"/>
                    </a:lnTo>
                    <a:lnTo>
                      <a:pt x="2439" y="1627"/>
                    </a:lnTo>
                    <a:lnTo>
                      <a:pt x="2384" y="1771"/>
                    </a:lnTo>
                    <a:lnTo>
                      <a:pt x="2215" y="1858"/>
                    </a:lnTo>
                    <a:lnTo>
                      <a:pt x="2120" y="1986"/>
                    </a:lnTo>
                    <a:lnTo>
                      <a:pt x="2054" y="2130"/>
                    </a:lnTo>
                    <a:lnTo>
                      <a:pt x="2014" y="2309"/>
                    </a:lnTo>
                    <a:lnTo>
                      <a:pt x="1912" y="2553"/>
                    </a:lnTo>
                    <a:lnTo>
                      <a:pt x="1719" y="2744"/>
                    </a:lnTo>
                    <a:lnTo>
                      <a:pt x="1560" y="2882"/>
                    </a:lnTo>
                    <a:lnTo>
                      <a:pt x="1483" y="2840"/>
                    </a:lnTo>
                    <a:lnTo>
                      <a:pt x="1506" y="2597"/>
                    </a:lnTo>
                    <a:lnTo>
                      <a:pt x="1699" y="2445"/>
                    </a:lnTo>
                    <a:lnTo>
                      <a:pt x="1522" y="2321"/>
                    </a:lnTo>
                    <a:lnTo>
                      <a:pt x="1475" y="2170"/>
                    </a:lnTo>
                    <a:lnTo>
                      <a:pt x="593" y="1555"/>
                    </a:lnTo>
                    <a:lnTo>
                      <a:pt x="455" y="1412"/>
                    </a:lnTo>
                    <a:lnTo>
                      <a:pt x="313" y="1268"/>
                    </a:lnTo>
                    <a:lnTo>
                      <a:pt x="207" y="1284"/>
                    </a:lnTo>
                    <a:lnTo>
                      <a:pt x="174" y="1365"/>
                    </a:lnTo>
                    <a:lnTo>
                      <a:pt x="0" y="1342"/>
                    </a:lnTo>
                    <a:close/>
                  </a:path>
                </a:pathLst>
              </a:custGeom>
              <a:solidFill>
                <a:srgbClr val="73BC44"/>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3" name="Freeform 35">
                <a:extLst>
                  <a:ext uri="{FF2B5EF4-FFF2-40B4-BE49-F238E27FC236}">
                    <a16:creationId xmlns:a16="http://schemas.microsoft.com/office/drawing/2014/main" id="{22322E0E-5C12-4072-8F7F-BD0EAB78E08A}"/>
                  </a:ext>
                </a:extLst>
              </p:cNvPr>
              <p:cNvSpPr>
                <a:spLocks/>
              </p:cNvSpPr>
              <p:nvPr/>
            </p:nvSpPr>
            <p:spPr bwMode="auto">
              <a:xfrm>
                <a:off x="1937" y="2266"/>
                <a:ext cx="588" cy="561"/>
              </a:xfrm>
              <a:custGeom>
                <a:avLst/>
                <a:gdLst/>
                <a:ahLst/>
                <a:cxnLst>
                  <a:cxn ang="0">
                    <a:pos x="1585" y="15"/>
                  </a:cxn>
                  <a:cxn ang="0">
                    <a:pos x="1668" y="175"/>
                  </a:cxn>
                  <a:cxn ang="0">
                    <a:pos x="2069" y="352"/>
                  </a:cxn>
                  <a:cxn ang="0">
                    <a:pos x="2224" y="150"/>
                  </a:cxn>
                  <a:cxn ang="0">
                    <a:pos x="2406" y="100"/>
                  </a:cxn>
                  <a:cxn ang="0">
                    <a:pos x="2466" y="370"/>
                  </a:cxn>
                  <a:cxn ang="0">
                    <a:pos x="2799" y="277"/>
                  </a:cxn>
                  <a:cxn ang="0">
                    <a:pos x="3064" y="405"/>
                  </a:cxn>
                  <a:cxn ang="0">
                    <a:pos x="3657" y="162"/>
                  </a:cxn>
                  <a:cxn ang="0">
                    <a:pos x="3892" y="240"/>
                  </a:cxn>
                  <a:cxn ang="0">
                    <a:pos x="3774" y="789"/>
                  </a:cxn>
                  <a:cxn ang="0">
                    <a:pos x="3922" y="1054"/>
                  </a:cxn>
                  <a:cxn ang="0">
                    <a:pos x="3867" y="1394"/>
                  </a:cxn>
                  <a:cxn ang="0">
                    <a:pos x="3603" y="1257"/>
                  </a:cxn>
                  <a:cxn ang="0">
                    <a:pos x="3583" y="1462"/>
                  </a:cxn>
                  <a:cxn ang="0">
                    <a:pos x="3392" y="1512"/>
                  </a:cxn>
                  <a:cxn ang="0">
                    <a:pos x="3377" y="1850"/>
                  </a:cxn>
                  <a:cxn ang="0">
                    <a:pos x="3052" y="2225"/>
                  </a:cxn>
                  <a:cxn ang="0">
                    <a:pos x="3160" y="2529"/>
                  </a:cxn>
                  <a:cxn ang="0">
                    <a:pos x="2998" y="2798"/>
                  </a:cxn>
                  <a:cxn ang="0">
                    <a:pos x="3057" y="2988"/>
                  </a:cxn>
                  <a:cxn ang="0">
                    <a:pos x="2934" y="3166"/>
                  </a:cxn>
                  <a:cxn ang="0">
                    <a:pos x="2609" y="3246"/>
                  </a:cxn>
                  <a:cxn ang="0">
                    <a:pos x="1974" y="3351"/>
                  </a:cxn>
                  <a:cxn ang="0">
                    <a:pos x="1447" y="3396"/>
                  </a:cxn>
                  <a:cxn ang="0">
                    <a:pos x="1118" y="3801"/>
                  </a:cxn>
                  <a:cxn ang="0">
                    <a:pos x="428" y="3396"/>
                  </a:cxn>
                  <a:cxn ang="0">
                    <a:pos x="113" y="3331"/>
                  </a:cxn>
                  <a:cxn ang="0">
                    <a:pos x="73" y="3148"/>
                  </a:cxn>
                  <a:cxn ang="0">
                    <a:pos x="0" y="2762"/>
                  </a:cxn>
                  <a:cxn ang="0">
                    <a:pos x="83" y="2502"/>
                  </a:cxn>
                  <a:cxn ang="0">
                    <a:pos x="260" y="2270"/>
                  </a:cxn>
                  <a:cxn ang="0">
                    <a:pos x="693" y="1744"/>
                  </a:cxn>
                  <a:cxn ang="0">
                    <a:pos x="928" y="1372"/>
                  </a:cxn>
                  <a:cxn ang="0">
                    <a:pos x="1240" y="1131"/>
                  </a:cxn>
                  <a:cxn ang="0">
                    <a:pos x="1343" y="818"/>
                  </a:cxn>
                  <a:cxn ang="0">
                    <a:pos x="1478" y="350"/>
                  </a:cxn>
                </a:cxnLst>
                <a:rect l="0" t="0" r="r" b="b"/>
                <a:pathLst>
                  <a:path w="3928" h="3801">
                    <a:moveTo>
                      <a:pt x="1563" y="182"/>
                    </a:moveTo>
                    <a:lnTo>
                      <a:pt x="1585" y="15"/>
                    </a:lnTo>
                    <a:lnTo>
                      <a:pt x="1648" y="67"/>
                    </a:lnTo>
                    <a:lnTo>
                      <a:pt x="1668" y="175"/>
                    </a:lnTo>
                    <a:lnTo>
                      <a:pt x="1991" y="255"/>
                    </a:lnTo>
                    <a:lnTo>
                      <a:pt x="2069" y="352"/>
                    </a:lnTo>
                    <a:lnTo>
                      <a:pt x="2209" y="297"/>
                    </a:lnTo>
                    <a:lnTo>
                      <a:pt x="2224" y="150"/>
                    </a:lnTo>
                    <a:lnTo>
                      <a:pt x="2344" y="0"/>
                    </a:lnTo>
                    <a:lnTo>
                      <a:pt x="2406" y="100"/>
                    </a:lnTo>
                    <a:lnTo>
                      <a:pt x="2416" y="280"/>
                    </a:lnTo>
                    <a:lnTo>
                      <a:pt x="2466" y="370"/>
                    </a:lnTo>
                    <a:lnTo>
                      <a:pt x="2581" y="280"/>
                    </a:lnTo>
                    <a:lnTo>
                      <a:pt x="2799" y="277"/>
                    </a:lnTo>
                    <a:lnTo>
                      <a:pt x="2832" y="405"/>
                    </a:lnTo>
                    <a:lnTo>
                      <a:pt x="3064" y="405"/>
                    </a:lnTo>
                    <a:lnTo>
                      <a:pt x="3450" y="300"/>
                    </a:lnTo>
                    <a:lnTo>
                      <a:pt x="3657" y="162"/>
                    </a:lnTo>
                    <a:lnTo>
                      <a:pt x="3824" y="161"/>
                    </a:lnTo>
                    <a:lnTo>
                      <a:pt x="3892" y="240"/>
                    </a:lnTo>
                    <a:lnTo>
                      <a:pt x="3869" y="460"/>
                    </a:lnTo>
                    <a:lnTo>
                      <a:pt x="3774" y="789"/>
                    </a:lnTo>
                    <a:lnTo>
                      <a:pt x="3839" y="949"/>
                    </a:lnTo>
                    <a:lnTo>
                      <a:pt x="3922" y="1054"/>
                    </a:lnTo>
                    <a:lnTo>
                      <a:pt x="3928" y="1252"/>
                    </a:lnTo>
                    <a:lnTo>
                      <a:pt x="3867" y="1394"/>
                    </a:lnTo>
                    <a:lnTo>
                      <a:pt x="3735" y="1357"/>
                    </a:lnTo>
                    <a:lnTo>
                      <a:pt x="3603" y="1257"/>
                    </a:lnTo>
                    <a:lnTo>
                      <a:pt x="3559" y="1372"/>
                    </a:lnTo>
                    <a:lnTo>
                      <a:pt x="3583" y="1462"/>
                    </a:lnTo>
                    <a:lnTo>
                      <a:pt x="3455" y="1407"/>
                    </a:lnTo>
                    <a:lnTo>
                      <a:pt x="3392" y="1512"/>
                    </a:lnTo>
                    <a:lnTo>
                      <a:pt x="3362" y="1670"/>
                    </a:lnTo>
                    <a:lnTo>
                      <a:pt x="3377" y="1850"/>
                    </a:lnTo>
                    <a:lnTo>
                      <a:pt x="3155" y="2001"/>
                    </a:lnTo>
                    <a:lnTo>
                      <a:pt x="3052" y="2225"/>
                    </a:lnTo>
                    <a:lnTo>
                      <a:pt x="3175" y="2364"/>
                    </a:lnTo>
                    <a:lnTo>
                      <a:pt x="3160" y="2529"/>
                    </a:lnTo>
                    <a:lnTo>
                      <a:pt x="2983" y="2693"/>
                    </a:lnTo>
                    <a:lnTo>
                      <a:pt x="2998" y="2798"/>
                    </a:lnTo>
                    <a:lnTo>
                      <a:pt x="3097" y="2828"/>
                    </a:lnTo>
                    <a:lnTo>
                      <a:pt x="3057" y="2988"/>
                    </a:lnTo>
                    <a:lnTo>
                      <a:pt x="3125" y="3106"/>
                    </a:lnTo>
                    <a:lnTo>
                      <a:pt x="2934" y="3166"/>
                    </a:lnTo>
                    <a:lnTo>
                      <a:pt x="2717" y="3291"/>
                    </a:lnTo>
                    <a:lnTo>
                      <a:pt x="2609" y="3246"/>
                    </a:lnTo>
                    <a:lnTo>
                      <a:pt x="2195" y="3216"/>
                    </a:lnTo>
                    <a:lnTo>
                      <a:pt x="1974" y="3351"/>
                    </a:lnTo>
                    <a:lnTo>
                      <a:pt x="1757" y="3346"/>
                    </a:lnTo>
                    <a:lnTo>
                      <a:pt x="1447" y="3396"/>
                    </a:lnTo>
                    <a:lnTo>
                      <a:pt x="1328" y="3590"/>
                    </a:lnTo>
                    <a:lnTo>
                      <a:pt x="1118" y="3801"/>
                    </a:lnTo>
                    <a:lnTo>
                      <a:pt x="619" y="3561"/>
                    </a:lnTo>
                    <a:lnTo>
                      <a:pt x="428" y="3396"/>
                    </a:lnTo>
                    <a:lnTo>
                      <a:pt x="171" y="3411"/>
                    </a:lnTo>
                    <a:lnTo>
                      <a:pt x="113" y="3331"/>
                    </a:lnTo>
                    <a:lnTo>
                      <a:pt x="176" y="3204"/>
                    </a:lnTo>
                    <a:lnTo>
                      <a:pt x="73" y="3148"/>
                    </a:lnTo>
                    <a:lnTo>
                      <a:pt x="9" y="2948"/>
                    </a:lnTo>
                    <a:lnTo>
                      <a:pt x="0" y="2762"/>
                    </a:lnTo>
                    <a:lnTo>
                      <a:pt x="5" y="2608"/>
                    </a:lnTo>
                    <a:lnTo>
                      <a:pt x="83" y="2502"/>
                    </a:lnTo>
                    <a:lnTo>
                      <a:pt x="84" y="2347"/>
                    </a:lnTo>
                    <a:lnTo>
                      <a:pt x="260" y="2270"/>
                    </a:lnTo>
                    <a:lnTo>
                      <a:pt x="510" y="1789"/>
                    </a:lnTo>
                    <a:lnTo>
                      <a:pt x="693" y="1744"/>
                    </a:lnTo>
                    <a:lnTo>
                      <a:pt x="838" y="1576"/>
                    </a:lnTo>
                    <a:lnTo>
                      <a:pt x="928" y="1372"/>
                    </a:lnTo>
                    <a:lnTo>
                      <a:pt x="1136" y="1317"/>
                    </a:lnTo>
                    <a:lnTo>
                      <a:pt x="1240" y="1131"/>
                    </a:lnTo>
                    <a:lnTo>
                      <a:pt x="1252" y="939"/>
                    </a:lnTo>
                    <a:lnTo>
                      <a:pt x="1343" y="818"/>
                    </a:lnTo>
                    <a:lnTo>
                      <a:pt x="1354" y="668"/>
                    </a:lnTo>
                    <a:lnTo>
                      <a:pt x="1478" y="350"/>
                    </a:lnTo>
                    <a:lnTo>
                      <a:pt x="1563" y="182"/>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4" name="Freeform 36">
                <a:extLst>
                  <a:ext uri="{FF2B5EF4-FFF2-40B4-BE49-F238E27FC236}">
                    <a16:creationId xmlns:a16="http://schemas.microsoft.com/office/drawing/2014/main" id="{611B49EA-53AA-49A6-A32C-473B11414ADB}"/>
                  </a:ext>
                </a:extLst>
              </p:cNvPr>
              <p:cNvSpPr>
                <a:spLocks/>
              </p:cNvSpPr>
              <p:nvPr/>
            </p:nvSpPr>
            <p:spPr bwMode="auto">
              <a:xfrm>
                <a:off x="2094" y="2411"/>
                <a:ext cx="902" cy="710"/>
              </a:xfrm>
              <a:custGeom>
                <a:avLst/>
                <a:gdLst/>
                <a:ahLst/>
                <a:cxnLst>
                  <a:cxn ang="0">
                    <a:pos x="2846" y="526"/>
                  </a:cxn>
                  <a:cxn ang="0">
                    <a:pos x="3235" y="284"/>
                  </a:cxn>
                  <a:cxn ang="0">
                    <a:pos x="3746" y="0"/>
                  </a:cxn>
                  <a:cxn ang="0">
                    <a:pos x="3998" y="140"/>
                  </a:cxn>
                  <a:cxn ang="0">
                    <a:pos x="4165" y="304"/>
                  </a:cxn>
                  <a:cxn ang="0">
                    <a:pos x="4588" y="394"/>
                  </a:cxn>
                  <a:cxn ang="0">
                    <a:pos x="5075" y="554"/>
                  </a:cxn>
                  <a:cxn ang="0">
                    <a:pos x="5286" y="917"/>
                  </a:cxn>
                  <a:cxn ang="0">
                    <a:pos x="5858" y="977"/>
                  </a:cxn>
                  <a:cxn ang="0">
                    <a:pos x="5833" y="1302"/>
                  </a:cxn>
                  <a:cxn ang="0">
                    <a:pos x="5769" y="1556"/>
                  </a:cxn>
                  <a:cxn ang="0">
                    <a:pos x="5578" y="1756"/>
                  </a:cxn>
                  <a:cxn ang="0">
                    <a:pos x="5774" y="2066"/>
                  </a:cxn>
                  <a:cxn ang="0">
                    <a:pos x="5568" y="2110"/>
                  </a:cxn>
                  <a:cxn ang="0">
                    <a:pos x="5370" y="2130"/>
                  </a:cxn>
                  <a:cxn ang="0">
                    <a:pos x="5258" y="2290"/>
                  </a:cxn>
                  <a:cxn ang="0">
                    <a:pos x="5301" y="2573"/>
                  </a:cxn>
                  <a:cxn ang="0">
                    <a:pos x="5258" y="2758"/>
                  </a:cxn>
                  <a:cxn ang="0">
                    <a:pos x="5095" y="3177"/>
                  </a:cxn>
                  <a:cxn ang="0">
                    <a:pos x="4750" y="3442"/>
                  </a:cxn>
                  <a:cxn ang="0">
                    <a:pos x="4564" y="3876"/>
                  </a:cxn>
                  <a:cxn ang="0">
                    <a:pos x="4455" y="4224"/>
                  </a:cxn>
                  <a:cxn ang="0">
                    <a:pos x="3884" y="4404"/>
                  </a:cxn>
                  <a:cxn ang="0">
                    <a:pos x="3116" y="4538"/>
                  </a:cxn>
                  <a:cxn ang="0">
                    <a:pos x="2641" y="4625"/>
                  </a:cxn>
                  <a:cxn ang="0">
                    <a:pos x="2403" y="4803"/>
                  </a:cxn>
                  <a:cxn ang="0">
                    <a:pos x="2290" y="4608"/>
                  </a:cxn>
                  <a:cxn ang="0">
                    <a:pos x="2211" y="4149"/>
                  </a:cxn>
                  <a:cxn ang="0">
                    <a:pos x="2240" y="3951"/>
                  </a:cxn>
                  <a:cxn ang="0">
                    <a:pos x="1945" y="3671"/>
                  </a:cxn>
                  <a:cxn ang="0">
                    <a:pos x="1950" y="3282"/>
                  </a:cxn>
                  <a:cxn ang="0">
                    <a:pos x="1419" y="3216"/>
                  </a:cxn>
                  <a:cxn ang="0">
                    <a:pos x="961" y="3294"/>
                  </a:cxn>
                  <a:cxn ang="0">
                    <a:pos x="530" y="3087"/>
                  </a:cxn>
                  <a:cxn ang="0">
                    <a:pos x="34" y="3123"/>
                  </a:cxn>
                  <a:cxn ang="0">
                    <a:pos x="71" y="2818"/>
                  </a:cxn>
                  <a:cxn ang="0">
                    <a:pos x="404" y="2411"/>
                  </a:cxn>
                  <a:cxn ang="0">
                    <a:pos x="931" y="2366"/>
                  </a:cxn>
                  <a:cxn ang="0">
                    <a:pos x="1561" y="2261"/>
                  </a:cxn>
                  <a:cxn ang="0">
                    <a:pos x="1889" y="2183"/>
                  </a:cxn>
                  <a:cxn ang="0">
                    <a:pos x="2009" y="2005"/>
                  </a:cxn>
                  <a:cxn ang="0">
                    <a:pos x="1948" y="1813"/>
                  </a:cxn>
                  <a:cxn ang="0">
                    <a:pos x="2111" y="1546"/>
                  </a:cxn>
                  <a:cxn ang="0">
                    <a:pos x="2004" y="1242"/>
                  </a:cxn>
                  <a:cxn ang="0">
                    <a:pos x="2329" y="865"/>
                  </a:cxn>
                  <a:cxn ang="0">
                    <a:pos x="2344" y="529"/>
                  </a:cxn>
                  <a:cxn ang="0">
                    <a:pos x="2536" y="479"/>
                  </a:cxn>
                  <a:cxn ang="0">
                    <a:pos x="2556" y="276"/>
                  </a:cxn>
                  <a:cxn ang="0">
                    <a:pos x="2816" y="409"/>
                  </a:cxn>
                </a:cxnLst>
                <a:rect l="0" t="0" r="r" b="b"/>
                <a:pathLst>
                  <a:path w="6025" h="4803">
                    <a:moveTo>
                      <a:pt x="2816" y="409"/>
                    </a:moveTo>
                    <a:lnTo>
                      <a:pt x="2846" y="526"/>
                    </a:lnTo>
                    <a:lnTo>
                      <a:pt x="3019" y="446"/>
                    </a:lnTo>
                    <a:lnTo>
                      <a:pt x="3235" y="284"/>
                    </a:lnTo>
                    <a:lnTo>
                      <a:pt x="3500" y="95"/>
                    </a:lnTo>
                    <a:lnTo>
                      <a:pt x="3746" y="0"/>
                    </a:lnTo>
                    <a:lnTo>
                      <a:pt x="3968" y="45"/>
                    </a:lnTo>
                    <a:lnTo>
                      <a:pt x="3998" y="140"/>
                    </a:lnTo>
                    <a:lnTo>
                      <a:pt x="3983" y="284"/>
                    </a:lnTo>
                    <a:lnTo>
                      <a:pt x="4165" y="304"/>
                    </a:lnTo>
                    <a:lnTo>
                      <a:pt x="4351" y="245"/>
                    </a:lnTo>
                    <a:lnTo>
                      <a:pt x="4588" y="394"/>
                    </a:lnTo>
                    <a:lnTo>
                      <a:pt x="4859" y="529"/>
                    </a:lnTo>
                    <a:lnTo>
                      <a:pt x="5075" y="554"/>
                    </a:lnTo>
                    <a:lnTo>
                      <a:pt x="5208" y="694"/>
                    </a:lnTo>
                    <a:lnTo>
                      <a:pt x="5286" y="917"/>
                    </a:lnTo>
                    <a:lnTo>
                      <a:pt x="5504" y="857"/>
                    </a:lnTo>
                    <a:lnTo>
                      <a:pt x="5858" y="977"/>
                    </a:lnTo>
                    <a:lnTo>
                      <a:pt x="6025" y="1142"/>
                    </a:lnTo>
                    <a:lnTo>
                      <a:pt x="5833" y="1302"/>
                    </a:lnTo>
                    <a:lnTo>
                      <a:pt x="5754" y="1441"/>
                    </a:lnTo>
                    <a:lnTo>
                      <a:pt x="5769" y="1556"/>
                    </a:lnTo>
                    <a:lnTo>
                      <a:pt x="5636" y="1571"/>
                    </a:lnTo>
                    <a:lnTo>
                      <a:pt x="5578" y="1756"/>
                    </a:lnTo>
                    <a:lnTo>
                      <a:pt x="5596" y="1915"/>
                    </a:lnTo>
                    <a:lnTo>
                      <a:pt x="5774" y="2066"/>
                    </a:lnTo>
                    <a:lnTo>
                      <a:pt x="5716" y="2171"/>
                    </a:lnTo>
                    <a:lnTo>
                      <a:pt x="5568" y="2110"/>
                    </a:lnTo>
                    <a:lnTo>
                      <a:pt x="5479" y="2145"/>
                    </a:lnTo>
                    <a:lnTo>
                      <a:pt x="5370" y="2130"/>
                    </a:lnTo>
                    <a:lnTo>
                      <a:pt x="5356" y="2245"/>
                    </a:lnTo>
                    <a:lnTo>
                      <a:pt x="5258" y="2290"/>
                    </a:lnTo>
                    <a:lnTo>
                      <a:pt x="5296" y="2413"/>
                    </a:lnTo>
                    <a:lnTo>
                      <a:pt x="5301" y="2573"/>
                    </a:lnTo>
                    <a:lnTo>
                      <a:pt x="5169" y="2648"/>
                    </a:lnTo>
                    <a:lnTo>
                      <a:pt x="5258" y="2758"/>
                    </a:lnTo>
                    <a:lnTo>
                      <a:pt x="5258" y="2967"/>
                    </a:lnTo>
                    <a:lnTo>
                      <a:pt x="5095" y="3177"/>
                    </a:lnTo>
                    <a:lnTo>
                      <a:pt x="4986" y="3382"/>
                    </a:lnTo>
                    <a:lnTo>
                      <a:pt x="4750" y="3442"/>
                    </a:lnTo>
                    <a:lnTo>
                      <a:pt x="4714" y="3711"/>
                    </a:lnTo>
                    <a:lnTo>
                      <a:pt x="4564" y="3876"/>
                    </a:lnTo>
                    <a:lnTo>
                      <a:pt x="4416" y="4114"/>
                    </a:lnTo>
                    <a:lnTo>
                      <a:pt x="4455" y="4224"/>
                    </a:lnTo>
                    <a:lnTo>
                      <a:pt x="4160" y="4354"/>
                    </a:lnTo>
                    <a:lnTo>
                      <a:pt x="3884" y="4404"/>
                    </a:lnTo>
                    <a:lnTo>
                      <a:pt x="3599" y="4384"/>
                    </a:lnTo>
                    <a:lnTo>
                      <a:pt x="3116" y="4538"/>
                    </a:lnTo>
                    <a:lnTo>
                      <a:pt x="2831" y="4653"/>
                    </a:lnTo>
                    <a:lnTo>
                      <a:pt x="2641" y="4625"/>
                    </a:lnTo>
                    <a:lnTo>
                      <a:pt x="2555" y="4763"/>
                    </a:lnTo>
                    <a:lnTo>
                      <a:pt x="2403" y="4803"/>
                    </a:lnTo>
                    <a:lnTo>
                      <a:pt x="2275" y="4718"/>
                    </a:lnTo>
                    <a:lnTo>
                      <a:pt x="2290" y="4608"/>
                    </a:lnTo>
                    <a:lnTo>
                      <a:pt x="2171" y="4504"/>
                    </a:lnTo>
                    <a:lnTo>
                      <a:pt x="2211" y="4149"/>
                    </a:lnTo>
                    <a:lnTo>
                      <a:pt x="2314" y="4029"/>
                    </a:lnTo>
                    <a:lnTo>
                      <a:pt x="2240" y="3951"/>
                    </a:lnTo>
                    <a:lnTo>
                      <a:pt x="2019" y="3936"/>
                    </a:lnTo>
                    <a:lnTo>
                      <a:pt x="1945" y="3671"/>
                    </a:lnTo>
                    <a:lnTo>
                      <a:pt x="2039" y="3536"/>
                    </a:lnTo>
                    <a:lnTo>
                      <a:pt x="1950" y="3282"/>
                    </a:lnTo>
                    <a:lnTo>
                      <a:pt x="1846" y="3163"/>
                    </a:lnTo>
                    <a:lnTo>
                      <a:pt x="1419" y="3216"/>
                    </a:lnTo>
                    <a:lnTo>
                      <a:pt x="1169" y="3216"/>
                    </a:lnTo>
                    <a:lnTo>
                      <a:pt x="961" y="3294"/>
                    </a:lnTo>
                    <a:lnTo>
                      <a:pt x="824" y="3096"/>
                    </a:lnTo>
                    <a:lnTo>
                      <a:pt x="530" y="3087"/>
                    </a:lnTo>
                    <a:lnTo>
                      <a:pt x="251" y="3023"/>
                    </a:lnTo>
                    <a:lnTo>
                      <a:pt x="34" y="3123"/>
                    </a:lnTo>
                    <a:lnTo>
                      <a:pt x="0" y="2987"/>
                    </a:lnTo>
                    <a:lnTo>
                      <a:pt x="71" y="2818"/>
                    </a:lnTo>
                    <a:lnTo>
                      <a:pt x="284" y="2606"/>
                    </a:lnTo>
                    <a:lnTo>
                      <a:pt x="404" y="2411"/>
                    </a:lnTo>
                    <a:lnTo>
                      <a:pt x="711" y="2363"/>
                    </a:lnTo>
                    <a:lnTo>
                      <a:pt x="931" y="2366"/>
                    </a:lnTo>
                    <a:lnTo>
                      <a:pt x="1151" y="2233"/>
                    </a:lnTo>
                    <a:lnTo>
                      <a:pt x="1561" y="2261"/>
                    </a:lnTo>
                    <a:lnTo>
                      <a:pt x="1670" y="2310"/>
                    </a:lnTo>
                    <a:lnTo>
                      <a:pt x="1889" y="2183"/>
                    </a:lnTo>
                    <a:lnTo>
                      <a:pt x="2076" y="2123"/>
                    </a:lnTo>
                    <a:lnTo>
                      <a:pt x="2009" y="2005"/>
                    </a:lnTo>
                    <a:lnTo>
                      <a:pt x="2051" y="1846"/>
                    </a:lnTo>
                    <a:lnTo>
                      <a:pt x="1948" y="1813"/>
                    </a:lnTo>
                    <a:lnTo>
                      <a:pt x="1935" y="1712"/>
                    </a:lnTo>
                    <a:lnTo>
                      <a:pt x="2111" y="1546"/>
                    </a:lnTo>
                    <a:lnTo>
                      <a:pt x="2128" y="1381"/>
                    </a:lnTo>
                    <a:lnTo>
                      <a:pt x="2004" y="1242"/>
                    </a:lnTo>
                    <a:lnTo>
                      <a:pt x="2109" y="1017"/>
                    </a:lnTo>
                    <a:lnTo>
                      <a:pt x="2329" y="865"/>
                    </a:lnTo>
                    <a:lnTo>
                      <a:pt x="2314" y="686"/>
                    </a:lnTo>
                    <a:lnTo>
                      <a:pt x="2344" y="529"/>
                    </a:lnTo>
                    <a:lnTo>
                      <a:pt x="2409" y="424"/>
                    </a:lnTo>
                    <a:lnTo>
                      <a:pt x="2536" y="479"/>
                    </a:lnTo>
                    <a:lnTo>
                      <a:pt x="2511" y="389"/>
                    </a:lnTo>
                    <a:lnTo>
                      <a:pt x="2556" y="276"/>
                    </a:lnTo>
                    <a:lnTo>
                      <a:pt x="2698" y="379"/>
                    </a:lnTo>
                    <a:lnTo>
                      <a:pt x="2816" y="40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5" name="Freeform 37">
                <a:extLst>
                  <a:ext uri="{FF2B5EF4-FFF2-40B4-BE49-F238E27FC236}">
                    <a16:creationId xmlns:a16="http://schemas.microsoft.com/office/drawing/2014/main" id="{FB2E28CD-7C8A-43B3-8496-7B1DFEA8F740}"/>
                  </a:ext>
                </a:extLst>
              </p:cNvPr>
              <p:cNvSpPr>
                <a:spLocks/>
              </p:cNvSpPr>
              <p:nvPr/>
            </p:nvSpPr>
            <p:spPr bwMode="auto">
              <a:xfrm>
                <a:off x="2561" y="2959"/>
                <a:ext cx="307" cy="180"/>
              </a:xfrm>
              <a:custGeom>
                <a:avLst/>
                <a:gdLst/>
                <a:ahLst/>
                <a:cxnLst>
                  <a:cxn ang="0">
                    <a:pos x="398" y="1169"/>
                  </a:cxn>
                  <a:cxn ang="0">
                    <a:pos x="613" y="1141"/>
                  </a:cxn>
                  <a:cxn ang="0">
                    <a:pos x="732" y="1051"/>
                  </a:cxn>
                  <a:cxn ang="0">
                    <a:pos x="879" y="1076"/>
                  </a:cxn>
                  <a:cxn ang="0">
                    <a:pos x="869" y="1196"/>
                  </a:cxn>
                  <a:cxn ang="0">
                    <a:pos x="1179" y="1181"/>
                  </a:cxn>
                  <a:cxn ang="0">
                    <a:pos x="1341" y="1211"/>
                  </a:cxn>
                  <a:cxn ang="0">
                    <a:pos x="1455" y="1141"/>
                  </a:cxn>
                  <a:cxn ang="0">
                    <a:pos x="1430" y="1031"/>
                  </a:cxn>
                  <a:cxn ang="0">
                    <a:pos x="1691" y="797"/>
                  </a:cxn>
                  <a:cxn ang="0">
                    <a:pos x="1956" y="717"/>
                  </a:cxn>
                  <a:cxn ang="0">
                    <a:pos x="1956" y="448"/>
                  </a:cxn>
                  <a:cxn ang="0">
                    <a:pos x="2048" y="288"/>
                  </a:cxn>
                  <a:cxn ang="0">
                    <a:pos x="1666" y="213"/>
                  </a:cxn>
                  <a:cxn ang="0">
                    <a:pos x="1646" y="94"/>
                  </a:cxn>
                  <a:cxn ang="0">
                    <a:pos x="1595" y="0"/>
                  </a:cxn>
                  <a:cxn ang="0">
                    <a:pos x="1451" y="158"/>
                  </a:cxn>
                  <a:cxn ang="0">
                    <a:pos x="1298" y="403"/>
                  </a:cxn>
                  <a:cxn ang="0">
                    <a:pos x="1338" y="514"/>
                  </a:cxn>
                  <a:cxn ang="0">
                    <a:pos x="1040" y="642"/>
                  </a:cxn>
                  <a:cxn ang="0">
                    <a:pos x="768" y="692"/>
                  </a:cxn>
                  <a:cxn ang="0">
                    <a:pos x="483" y="672"/>
                  </a:cxn>
                  <a:cxn ang="0">
                    <a:pos x="0" y="828"/>
                  </a:cxn>
                  <a:cxn ang="0">
                    <a:pos x="101" y="927"/>
                  </a:cxn>
                  <a:cxn ang="0">
                    <a:pos x="223" y="960"/>
                  </a:cxn>
                  <a:cxn ang="0">
                    <a:pos x="328" y="1042"/>
                  </a:cxn>
                  <a:cxn ang="0">
                    <a:pos x="398" y="1169"/>
                  </a:cxn>
                </a:cxnLst>
                <a:rect l="0" t="0" r="r" b="b"/>
                <a:pathLst>
                  <a:path w="2048" h="1211">
                    <a:moveTo>
                      <a:pt x="398" y="1169"/>
                    </a:moveTo>
                    <a:lnTo>
                      <a:pt x="613" y="1141"/>
                    </a:lnTo>
                    <a:lnTo>
                      <a:pt x="732" y="1051"/>
                    </a:lnTo>
                    <a:lnTo>
                      <a:pt x="879" y="1076"/>
                    </a:lnTo>
                    <a:lnTo>
                      <a:pt x="869" y="1196"/>
                    </a:lnTo>
                    <a:lnTo>
                      <a:pt x="1179" y="1181"/>
                    </a:lnTo>
                    <a:lnTo>
                      <a:pt x="1341" y="1211"/>
                    </a:lnTo>
                    <a:lnTo>
                      <a:pt x="1455" y="1141"/>
                    </a:lnTo>
                    <a:lnTo>
                      <a:pt x="1430" y="1031"/>
                    </a:lnTo>
                    <a:lnTo>
                      <a:pt x="1691" y="797"/>
                    </a:lnTo>
                    <a:lnTo>
                      <a:pt x="1956" y="717"/>
                    </a:lnTo>
                    <a:lnTo>
                      <a:pt x="1956" y="448"/>
                    </a:lnTo>
                    <a:lnTo>
                      <a:pt x="2048" y="288"/>
                    </a:lnTo>
                    <a:lnTo>
                      <a:pt x="1666" y="213"/>
                    </a:lnTo>
                    <a:lnTo>
                      <a:pt x="1646" y="94"/>
                    </a:lnTo>
                    <a:lnTo>
                      <a:pt x="1595" y="0"/>
                    </a:lnTo>
                    <a:lnTo>
                      <a:pt x="1451" y="158"/>
                    </a:lnTo>
                    <a:lnTo>
                      <a:pt x="1298" y="403"/>
                    </a:lnTo>
                    <a:lnTo>
                      <a:pt x="1338" y="514"/>
                    </a:lnTo>
                    <a:lnTo>
                      <a:pt x="1040" y="642"/>
                    </a:lnTo>
                    <a:lnTo>
                      <a:pt x="768" y="692"/>
                    </a:lnTo>
                    <a:lnTo>
                      <a:pt x="483" y="672"/>
                    </a:lnTo>
                    <a:lnTo>
                      <a:pt x="0" y="828"/>
                    </a:lnTo>
                    <a:lnTo>
                      <a:pt x="101" y="927"/>
                    </a:lnTo>
                    <a:lnTo>
                      <a:pt x="223" y="960"/>
                    </a:lnTo>
                    <a:lnTo>
                      <a:pt x="328" y="1042"/>
                    </a:lnTo>
                    <a:lnTo>
                      <a:pt x="398" y="116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6" name="Freeform 38">
                <a:extLst>
                  <a:ext uri="{FF2B5EF4-FFF2-40B4-BE49-F238E27FC236}">
                    <a16:creationId xmlns:a16="http://schemas.microsoft.com/office/drawing/2014/main" id="{56E581D5-0670-4A67-94C1-B99176F6BFA7}"/>
                  </a:ext>
                </a:extLst>
              </p:cNvPr>
              <p:cNvSpPr>
                <a:spLocks/>
              </p:cNvSpPr>
              <p:nvPr/>
            </p:nvSpPr>
            <p:spPr bwMode="auto">
              <a:xfrm>
                <a:off x="2800" y="2723"/>
                <a:ext cx="190" cy="279"/>
              </a:xfrm>
              <a:custGeom>
                <a:avLst/>
                <a:gdLst/>
                <a:ahLst/>
                <a:cxnLst>
                  <a:cxn ang="0">
                    <a:pos x="1265" y="254"/>
                  </a:cxn>
                  <a:cxn ang="0">
                    <a:pos x="1123" y="166"/>
                  </a:cxn>
                  <a:cxn ang="0">
                    <a:pos x="1000" y="61"/>
                  </a:cxn>
                  <a:cxn ang="0">
                    <a:pos x="849" y="0"/>
                  </a:cxn>
                  <a:cxn ang="0">
                    <a:pos x="763" y="34"/>
                  </a:cxn>
                  <a:cxn ang="0">
                    <a:pos x="655" y="21"/>
                  </a:cxn>
                  <a:cxn ang="0">
                    <a:pos x="643" y="131"/>
                  </a:cxn>
                  <a:cxn ang="0">
                    <a:pos x="545" y="181"/>
                  </a:cxn>
                  <a:cxn ang="0">
                    <a:pos x="585" y="304"/>
                  </a:cxn>
                  <a:cxn ang="0">
                    <a:pos x="590" y="464"/>
                  </a:cxn>
                  <a:cxn ang="0">
                    <a:pos x="455" y="537"/>
                  </a:cxn>
                  <a:cxn ang="0">
                    <a:pos x="543" y="644"/>
                  </a:cxn>
                  <a:cxn ang="0">
                    <a:pos x="540" y="864"/>
                  </a:cxn>
                  <a:cxn ang="0">
                    <a:pos x="382" y="1064"/>
                  </a:cxn>
                  <a:cxn ang="0">
                    <a:pos x="274" y="1272"/>
                  </a:cxn>
                  <a:cxn ang="0">
                    <a:pos x="35" y="1332"/>
                  </a:cxn>
                  <a:cxn ang="0">
                    <a:pos x="0" y="1605"/>
                  </a:cxn>
                  <a:cxn ang="0">
                    <a:pos x="50" y="1700"/>
                  </a:cxn>
                  <a:cxn ang="0">
                    <a:pos x="70" y="1815"/>
                  </a:cxn>
                  <a:cxn ang="0">
                    <a:pos x="450" y="1891"/>
                  </a:cxn>
                  <a:cxn ang="0">
                    <a:pos x="598" y="1696"/>
                  </a:cxn>
                  <a:cxn ang="0">
                    <a:pos x="854" y="1527"/>
                  </a:cxn>
                  <a:cxn ang="0">
                    <a:pos x="883" y="1362"/>
                  </a:cxn>
                  <a:cxn ang="0">
                    <a:pos x="996" y="1113"/>
                  </a:cxn>
                  <a:cxn ang="0">
                    <a:pos x="1193" y="943"/>
                  </a:cxn>
                  <a:cxn ang="0">
                    <a:pos x="1203" y="554"/>
                  </a:cxn>
                  <a:cxn ang="0">
                    <a:pos x="1265" y="254"/>
                  </a:cxn>
                </a:cxnLst>
                <a:rect l="0" t="0" r="r" b="b"/>
                <a:pathLst>
                  <a:path w="1265" h="1891">
                    <a:moveTo>
                      <a:pt x="1265" y="254"/>
                    </a:moveTo>
                    <a:lnTo>
                      <a:pt x="1123" y="166"/>
                    </a:lnTo>
                    <a:lnTo>
                      <a:pt x="1000" y="61"/>
                    </a:lnTo>
                    <a:lnTo>
                      <a:pt x="849" y="0"/>
                    </a:lnTo>
                    <a:lnTo>
                      <a:pt x="763" y="34"/>
                    </a:lnTo>
                    <a:lnTo>
                      <a:pt x="655" y="21"/>
                    </a:lnTo>
                    <a:lnTo>
                      <a:pt x="643" y="131"/>
                    </a:lnTo>
                    <a:lnTo>
                      <a:pt x="545" y="181"/>
                    </a:lnTo>
                    <a:lnTo>
                      <a:pt x="585" y="304"/>
                    </a:lnTo>
                    <a:lnTo>
                      <a:pt x="590" y="464"/>
                    </a:lnTo>
                    <a:lnTo>
                      <a:pt x="455" y="537"/>
                    </a:lnTo>
                    <a:lnTo>
                      <a:pt x="543" y="644"/>
                    </a:lnTo>
                    <a:lnTo>
                      <a:pt x="540" y="864"/>
                    </a:lnTo>
                    <a:lnTo>
                      <a:pt x="382" y="1064"/>
                    </a:lnTo>
                    <a:lnTo>
                      <a:pt x="274" y="1272"/>
                    </a:lnTo>
                    <a:lnTo>
                      <a:pt x="35" y="1332"/>
                    </a:lnTo>
                    <a:lnTo>
                      <a:pt x="0" y="1605"/>
                    </a:lnTo>
                    <a:lnTo>
                      <a:pt x="50" y="1700"/>
                    </a:lnTo>
                    <a:lnTo>
                      <a:pt x="70" y="1815"/>
                    </a:lnTo>
                    <a:lnTo>
                      <a:pt x="450" y="1891"/>
                    </a:lnTo>
                    <a:lnTo>
                      <a:pt x="598" y="1696"/>
                    </a:lnTo>
                    <a:lnTo>
                      <a:pt x="854" y="1527"/>
                    </a:lnTo>
                    <a:lnTo>
                      <a:pt x="883" y="1362"/>
                    </a:lnTo>
                    <a:lnTo>
                      <a:pt x="996" y="1113"/>
                    </a:lnTo>
                    <a:lnTo>
                      <a:pt x="1193" y="943"/>
                    </a:lnTo>
                    <a:lnTo>
                      <a:pt x="1203" y="554"/>
                    </a:lnTo>
                    <a:lnTo>
                      <a:pt x="1265" y="254"/>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7" name="Freeform 39">
                <a:extLst>
                  <a:ext uri="{FF2B5EF4-FFF2-40B4-BE49-F238E27FC236}">
                    <a16:creationId xmlns:a16="http://schemas.microsoft.com/office/drawing/2014/main" id="{259AA506-85F1-457C-ADBD-FB0D92033AE9}"/>
                  </a:ext>
                </a:extLst>
              </p:cNvPr>
              <p:cNvSpPr>
                <a:spLocks/>
              </p:cNvSpPr>
              <p:nvPr/>
            </p:nvSpPr>
            <p:spPr bwMode="auto">
              <a:xfrm>
                <a:off x="2488" y="1949"/>
                <a:ext cx="726" cy="811"/>
              </a:xfrm>
              <a:custGeom>
                <a:avLst/>
                <a:gdLst/>
                <a:ahLst/>
                <a:cxnLst>
                  <a:cxn ang="0">
                    <a:pos x="148" y="1143"/>
                  </a:cxn>
                  <a:cxn ang="0">
                    <a:pos x="74" y="1616"/>
                  </a:cxn>
                  <a:cxn ang="0">
                    <a:pos x="261" y="1661"/>
                  </a:cxn>
                  <a:cxn ang="0">
                    <a:pos x="251" y="1780"/>
                  </a:cxn>
                  <a:cxn ang="0">
                    <a:pos x="54" y="1995"/>
                  </a:cxn>
                  <a:cxn ang="0">
                    <a:pos x="143" y="2304"/>
                  </a:cxn>
                  <a:cxn ang="0">
                    <a:pos x="188" y="2624"/>
                  </a:cxn>
                  <a:cxn ang="0">
                    <a:pos x="163" y="3098"/>
                  </a:cxn>
                  <a:cxn ang="0">
                    <a:pos x="253" y="3399"/>
                  </a:cxn>
                  <a:cxn ang="0">
                    <a:pos x="216" y="3657"/>
                  </a:cxn>
                  <a:cxn ang="0">
                    <a:pos x="866" y="3223"/>
                  </a:cxn>
                  <a:cxn ang="0">
                    <a:pos x="1340" y="3172"/>
                  </a:cxn>
                  <a:cxn ang="0">
                    <a:pos x="1354" y="3412"/>
                  </a:cxn>
                  <a:cxn ang="0">
                    <a:pos x="1725" y="3372"/>
                  </a:cxn>
                  <a:cxn ang="0">
                    <a:pos x="2233" y="3657"/>
                  </a:cxn>
                  <a:cxn ang="0">
                    <a:pos x="2583" y="3829"/>
                  </a:cxn>
                  <a:cxn ang="0">
                    <a:pos x="2873" y="3987"/>
                  </a:cxn>
                  <a:cxn ang="0">
                    <a:pos x="3395" y="4269"/>
                  </a:cxn>
                  <a:cxn ang="0">
                    <a:pos x="3125" y="4569"/>
                  </a:cxn>
                  <a:cxn ang="0">
                    <a:pos x="3005" y="4699"/>
                  </a:cxn>
                  <a:cxn ang="0">
                    <a:pos x="2968" y="5043"/>
                  </a:cxn>
                  <a:cxn ang="0">
                    <a:pos x="3087" y="5297"/>
                  </a:cxn>
                  <a:cxn ang="0">
                    <a:pos x="3352" y="5492"/>
                  </a:cxn>
                  <a:cxn ang="0">
                    <a:pos x="3692" y="5228"/>
                  </a:cxn>
                  <a:cxn ang="0">
                    <a:pos x="3745" y="4549"/>
                  </a:cxn>
                  <a:cxn ang="0">
                    <a:pos x="3893" y="3532"/>
                  </a:cxn>
                  <a:cxn ang="0">
                    <a:pos x="4012" y="2903"/>
                  </a:cxn>
                  <a:cxn ang="0">
                    <a:pos x="4149" y="2594"/>
                  </a:cxn>
                  <a:cxn ang="0">
                    <a:pos x="4208" y="2349"/>
                  </a:cxn>
                  <a:cxn ang="0">
                    <a:pos x="4410" y="2399"/>
                  </a:cxn>
                  <a:cxn ang="0">
                    <a:pos x="4735" y="2040"/>
                  </a:cxn>
                  <a:cxn ang="0">
                    <a:pos x="4725" y="1741"/>
                  </a:cxn>
                  <a:cxn ang="0">
                    <a:pos x="4503" y="1441"/>
                  </a:cxn>
                  <a:cxn ang="0">
                    <a:pos x="4637" y="1256"/>
                  </a:cxn>
                  <a:cxn ang="0">
                    <a:pos x="4754" y="913"/>
                  </a:cxn>
                  <a:cxn ang="0">
                    <a:pos x="4474" y="294"/>
                  </a:cxn>
                  <a:cxn ang="0">
                    <a:pos x="4218" y="225"/>
                  </a:cxn>
                  <a:cxn ang="0">
                    <a:pos x="3677" y="140"/>
                  </a:cxn>
                  <a:cxn ang="0">
                    <a:pos x="3440" y="299"/>
                  </a:cxn>
                  <a:cxn ang="0">
                    <a:pos x="3214" y="484"/>
                  </a:cxn>
                  <a:cxn ang="0">
                    <a:pos x="3110" y="284"/>
                  </a:cxn>
                  <a:cxn ang="0">
                    <a:pos x="2879" y="60"/>
                  </a:cxn>
                  <a:cxn ang="0">
                    <a:pos x="2475" y="349"/>
                  </a:cxn>
                  <a:cxn ang="0">
                    <a:pos x="2091" y="529"/>
                  </a:cxn>
                  <a:cxn ang="0">
                    <a:pos x="1826" y="469"/>
                  </a:cxn>
                  <a:cxn ang="0">
                    <a:pos x="1619" y="404"/>
                  </a:cxn>
                  <a:cxn ang="0">
                    <a:pos x="1580" y="629"/>
                  </a:cxn>
                  <a:cxn ang="0">
                    <a:pos x="1508" y="935"/>
                  </a:cxn>
                  <a:cxn ang="0">
                    <a:pos x="1168" y="1085"/>
                  </a:cxn>
                  <a:cxn ang="0">
                    <a:pos x="868" y="1258"/>
                  </a:cxn>
                  <a:cxn ang="0">
                    <a:pos x="630" y="1108"/>
                  </a:cxn>
                  <a:cxn ang="0">
                    <a:pos x="388" y="966"/>
                  </a:cxn>
                </a:cxnLst>
                <a:rect l="0" t="0" r="r" b="b"/>
                <a:pathLst>
                  <a:path w="4852" h="5492">
                    <a:moveTo>
                      <a:pt x="388" y="966"/>
                    </a:moveTo>
                    <a:lnTo>
                      <a:pt x="148" y="1143"/>
                    </a:lnTo>
                    <a:lnTo>
                      <a:pt x="0" y="1501"/>
                    </a:lnTo>
                    <a:lnTo>
                      <a:pt x="74" y="1616"/>
                    </a:lnTo>
                    <a:lnTo>
                      <a:pt x="188" y="1616"/>
                    </a:lnTo>
                    <a:lnTo>
                      <a:pt x="261" y="1661"/>
                    </a:lnTo>
                    <a:lnTo>
                      <a:pt x="158" y="1750"/>
                    </a:lnTo>
                    <a:lnTo>
                      <a:pt x="251" y="1780"/>
                    </a:lnTo>
                    <a:lnTo>
                      <a:pt x="216" y="1815"/>
                    </a:lnTo>
                    <a:lnTo>
                      <a:pt x="54" y="1995"/>
                    </a:lnTo>
                    <a:lnTo>
                      <a:pt x="163" y="2175"/>
                    </a:lnTo>
                    <a:lnTo>
                      <a:pt x="143" y="2304"/>
                    </a:lnTo>
                    <a:lnTo>
                      <a:pt x="216" y="2384"/>
                    </a:lnTo>
                    <a:lnTo>
                      <a:pt x="188" y="2624"/>
                    </a:lnTo>
                    <a:lnTo>
                      <a:pt x="99" y="2933"/>
                    </a:lnTo>
                    <a:lnTo>
                      <a:pt x="163" y="3098"/>
                    </a:lnTo>
                    <a:lnTo>
                      <a:pt x="246" y="3203"/>
                    </a:lnTo>
                    <a:lnTo>
                      <a:pt x="253" y="3399"/>
                    </a:lnTo>
                    <a:lnTo>
                      <a:pt x="189" y="3538"/>
                    </a:lnTo>
                    <a:lnTo>
                      <a:pt x="216" y="3657"/>
                    </a:lnTo>
                    <a:lnTo>
                      <a:pt x="391" y="3572"/>
                    </a:lnTo>
                    <a:lnTo>
                      <a:pt x="866" y="3223"/>
                    </a:lnTo>
                    <a:lnTo>
                      <a:pt x="1118" y="3129"/>
                    </a:lnTo>
                    <a:lnTo>
                      <a:pt x="1340" y="3172"/>
                    </a:lnTo>
                    <a:lnTo>
                      <a:pt x="1369" y="3267"/>
                    </a:lnTo>
                    <a:lnTo>
                      <a:pt x="1354" y="3412"/>
                    </a:lnTo>
                    <a:lnTo>
                      <a:pt x="1535" y="3432"/>
                    </a:lnTo>
                    <a:lnTo>
                      <a:pt x="1725" y="3372"/>
                    </a:lnTo>
                    <a:lnTo>
                      <a:pt x="1945" y="3514"/>
                    </a:lnTo>
                    <a:lnTo>
                      <a:pt x="2233" y="3657"/>
                    </a:lnTo>
                    <a:lnTo>
                      <a:pt x="2453" y="3684"/>
                    </a:lnTo>
                    <a:lnTo>
                      <a:pt x="2583" y="3829"/>
                    </a:lnTo>
                    <a:lnTo>
                      <a:pt x="2660" y="4047"/>
                    </a:lnTo>
                    <a:lnTo>
                      <a:pt x="2873" y="3987"/>
                    </a:lnTo>
                    <a:lnTo>
                      <a:pt x="3230" y="4104"/>
                    </a:lnTo>
                    <a:lnTo>
                      <a:pt x="3395" y="4269"/>
                    </a:lnTo>
                    <a:lnTo>
                      <a:pt x="3203" y="4429"/>
                    </a:lnTo>
                    <a:lnTo>
                      <a:pt x="3125" y="4569"/>
                    </a:lnTo>
                    <a:lnTo>
                      <a:pt x="3140" y="4684"/>
                    </a:lnTo>
                    <a:lnTo>
                      <a:pt x="3005" y="4699"/>
                    </a:lnTo>
                    <a:lnTo>
                      <a:pt x="2948" y="4883"/>
                    </a:lnTo>
                    <a:lnTo>
                      <a:pt x="2968" y="5043"/>
                    </a:lnTo>
                    <a:lnTo>
                      <a:pt x="3145" y="5193"/>
                    </a:lnTo>
                    <a:lnTo>
                      <a:pt x="3087" y="5297"/>
                    </a:lnTo>
                    <a:lnTo>
                      <a:pt x="3204" y="5402"/>
                    </a:lnTo>
                    <a:lnTo>
                      <a:pt x="3352" y="5492"/>
                    </a:lnTo>
                    <a:lnTo>
                      <a:pt x="3465" y="5372"/>
                    </a:lnTo>
                    <a:lnTo>
                      <a:pt x="3692" y="5228"/>
                    </a:lnTo>
                    <a:lnTo>
                      <a:pt x="3662" y="4973"/>
                    </a:lnTo>
                    <a:lnTo>
                      <a:pt x="3745" y="4549"/>
                    </a:lnTo>
                    <a:lnTo>
                      <a:pt x="3913" y="4221"/>
                    </a:lnTo>
                    <a:lnTo>
                      <a:pt x="3893" y="3532"/>
                    </a:lnTo>
                    <a:lnTo>
                      <a:pt x="3967" y="3103"/>
                    </a:lnTo>
                    <a:lnTo>
                      <a:pt x="4012" y="2903"/>
                    </a:lnTo>
                    <a:lnTo>
                      <a:pt x="3987" y="2724"/>
                    </a:lnTo>
                    <a:lnTo>
                      <a:pt x="4149" y="2594"/>
                    </a:lnTo>
                    <a:lnTo>
                      <a:pt x="4114" y="2424"/>
                    </a:lnTo>
                    <a:lnTo>
                      <a:pt x="4208" y="2349"/>
                    </a:lnTo>
                    <a:lnTo>
                      <a:pt x="4277" y="2534"/>
                    </a:lnTo>
                    <a:lnTo>
                      <a:pt x="4410" y="2399"/>
                    </a:lnTo>
                    <a:lnTo>
                      <a:pt x="4548" y="2245"/>
                    </a:lnTo>
                    <a:lnTo>
                      <a:pt x="4735" y="2040"/>
                    </a:lnTo>
                    <a:lnTo>
                      <a:pt x="4852" y="1777"/>
                    </a:lnTo>
                    <a:lnTo>
                      <a:pt x="4725" y="1741"/>
                    </a:lnTo>
                    <a:lnTo>
                      <a:pt x="4573" y="1621"/>
                    </a:lnTo>
                    <a:lnTo>
                      <a:pt x="4503" y="1441"/>
                    </a:lnTo>
                    <a:lnTo>
                      <a:pt x="4484" y="1256"/>
                    </a:lnTo>
                    <a:lnTo>
                      <a:pt x="4637" y="1256"/>
                    </a:lnTo>
                    <a:lnTo>
                      <a:pt x="4720" y="1183"/>
                    </a:lnTo>
                    <a:lnTo>
                      <a:pt x="4754" y="913"/>
                    </a:lnTo>
                    <a:lnTo>
                      <a:pt x="4637" y="749"/>
                    </a:lnTo>
                    <a:lnTo>
                      <a:pt x="4474" y="294"/>
                    </a:lnTo>
                    <a:lnTo>
                      <a:pt x="4342" y="304"/>
                    </a:lnTo>
                    <a:lnTo>
                      <a:pt x="4218" y="225"/>
                    </a:lnTo>
                    <a:lnTo>
                      <a:pt x="3893" y="0"/>
                    </a:lnTo>
                    <a:lnTo>
                      <a:pt x="3677" y="140"/>
                    </a:lnTo>
                    <a:lnTo>
                      <a:pt x="3618" y="274"/>
                    </a:lnTo>
                    <a:lnTo>
                      <a:pt x="3440" y="299"/>
                    </a:lnTo>
                    <a:lnTo>
                      <a:pt x="3382" y="434"/>
                    </a:lnTo>
                    <a:lnTo>
                      <a:pt x="3214" y="484"/>
                    </a:lnTo>
                    <a:lnTo>
                      <a:pt x="3204" y="379"/>
                    </a:lnTo>
                    <a:lnTo>
                      <a:pt x="3110" y="284"/>
                    </a:lnTo>
                    <a:lnTo>
                      <a:pt x="3110" y="150"/>
                    </a:lnTo>
                    <a:lnTo>
                      <a:pt x="2879" y="60"/>
                    </a:lnTo>
                    <a:lnTo>
                      <a:pt x="2609" y="359"/>
                    </a:lnTo>
                    <a:lnTo>
                      <a:pt x="2475" y="349"/>
                    </a:lnTo>
                    <a:lnTo>
                      <a:pt x="2304" y="394"/>
                    </a:lnTo>
                    <a:lnTo>
                      <a:pt x="2091" y="529"/>
                    </a:lnTo>
                    <a:lnTo>
                      <a:pt x="1929" y="424"/>
                    </a:lnTo>
                    <a:lnTo>
                      <a:pt x="1826" y="469"/>
                    </a:lnTo>
                    <a:lnTo>
                      <a:pt x="1723" y="404"/>
                    </a:lnTo>
                    <a:lnTo>
                      <a:pt x="1619" y="404"/>
                    </a:lnTo>
                    <a:lnTo>
                      <a:pt x="1501" y="469"/>
                    </a:lnTo>
                    <a:lnTo>
                      <a:pt x="1580" y="629"/>
                    </a:lnTo>
                    <a:lnTo>
                      <a:pt x="1580" y="808"/>
                    </a:lnTo>
                    <a:lnTo>
                      <a:pt x="1508" y="935"/>
                    </a:lnTo>
                    <a:lnTo>
                      <a:pt x="1329" y="1138"/>
                    </a:lnTo>
                    <a:lnTo>
                      <a:pt x="1168" y="1085"/>
                    </a:lnTo>
                    <a:lnTo>
                      <a:pt x="1040" y="1184"/>
                    </a:lnTo>
                    <a:lnTo>
                      <a:pt x="868" y="1258"/>
                    </a:lnTo>
                    <a:lnTo>
                      <a:pt x="718" y="1214"/>
                    </a:lnTo>
                    <a:lnTo>
                      <a:pt x="630" y="1108"/>
                    </a:lnTo>
                    <a:lnTo>
                      <a:pt x="571" y="948"/>
                    </a:lnTo>
                    <a:lnTo>
                      <a:pt x="388" y="96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8" name="Freeform 40">
                <a:extLst>
                  <a:ext uri="{FF2B5EF4-FFF2-40B4-BE49-F238E27FC236}">
                    <a16:creationId xmlns:a16="http://schemas.microsoft.com/office/drawing/2014/main" id="{61DD4CE4-EED0-4562-9C71-6335BBE1114F}"/>
                  </a:ext>
                </a:extLst>
              </p:cNvPr>
              <p:cNvSpPr>
                <a:spLocks/>
              </p:cNvSpPr>
              <p:nvPr/>
            </p:nvSpPr>
            <p:spPr bwMode="auto">
              <a:xfrm>
                <a:off x="2154" y="1659"/>
                <a:ext cx="392" cy="667"/>
              </a:xfrm>
              <a:custGeom>
                <a:avLst/>
                <a:gdLst/>
                <a:ahLst/>
                <a:cxnLst>
                  <a:cxn ang="0">
                    <a:pos x="1487" y="65"/>
                  </a:cxn>
                  <a:cxn ang="0">
                    <a:pos x="1723" y="110"/>
                  </a:cxn>
                  <a:cxn ang="0">
                    <a:pos x="1862" y="369"/>
                  </a:cxn>
                  <a:cxn ang="0">
                    <a:pos x="1935" y="664"/>
                  </a:cxn>
                  <a:cxn ang="0">
                    <a:pos x="1817" y="1023"/>
                  </a:cxn>
                  <a:cxn ang="0">
                    <a:pos x="1832" y="1208"/>
                  </a:cxn>
                  <a:cxn ang="0">
                    <a:pos x="1979" y="1477"/>
                  </a:cxn>
                  <a:cxn ang="0">
                    <a:pos x="2363" y="1567"/>
                  </a:cxn>
                  <a:cxn ang="0">
                    <a:pos x="2344" y="1805"/>
                  </a:cxn>
                  <a:cxn ang="0">
                    <a:pos x="2137" y="1906"/>
                  </a:cxn>
                  <a:cxn ang="0">
                    <a:pos x="2009" y="2146"/>
                  </a:cxn>
                  <a:cxn ang="0">
                    <a:pos x="2172" y="2429"/>
                  </a:cxn>
                  <a:cxn ang="0">
                    <a:pos x="2245" y="2579"/>
                  </a:cxn>
                  <a:cxn ang="0">
                    <a:pos x="2373" y="2803"/>
                  </a:cxn>
                  <a:cxn ang="0">
                    <a:pos x="2557" y="2876"/>
                  </a:cxn>
                  <a:cxn ang="0">
                    <a:pos x="2377" y="3108"/>
                  </a:cxn>
                  <a:cxn ang="0">
                    <a:pos x="2304" y="3582"/>
                  </a:cxn>
                  <a:cxn ang="0">
                    <a:pos x="2490" y="3626"/>
                  </a:cxn>
                  <a:cxn ang="0">
                    <a:pos x="2479" y="3746"/>
                  </a:cxn>
                  <a:cxn ang="0">
                    <a:pos x="2392" y="4140"/>
                  </a:cxn>
                  <a:cxn ang="0">
                    <a:pos x="2213" y="4274"/>
                  </a:cxn>
                  <a:cxn ang="0">
                    <a:pos x="1625" y="4515"/>
                  </a:cxn>
                  <a:cxn ang="0">
                    <a:pos x="1354" y="4390"/>
                  </a:cxn>
                  <a:cxn ang="0">
                    <a:pos x="1019" y="4480"/>
                  </a:cxn>
                  <a:cxn ang="0">
                    <a:pos x="960" y="4211"/>
                  </a:cxn>
                  <a:cxn ang="0">
                    <a:pos x="778" y="4261"/>
                  </a:cxn>
                  <a:cxn ang="0">
                    <a:pos x="623" y="4462"/>
                  </a:cxn>
                  <a:cxn ang="0">
                    <a:pos x="221" y="4285"/>
                  </a:cxn>
                  <a:cxn ang="0">
                    <a:pos x="136" y="4126"/>
                  </a:cxn>
                  <a:cxn ang="0">
                    <a:pos x="0" y="4182"/>
                  </a:cxn>
                  <a:cxn ang="0">
                    <a:pos x="10" y="3467"/>
                  </a:cxn>
                  <a:cxn ang="0">
                    <a:pos x="325" y="2599"/>
                  </a:cxn>
                  <a:cxn ang="0">
                    <a:pos x="561" y="2116"/>
                  </a:cxn>
                  <a:cxn ang="0">
                    <a:pos x="925" y="1562"/>
                  </a:cxn>
                  <a:cxn ang="0">
                    <a:pos x="881" y="1148"/>
                  </a:cxn>
                  <a:cxn ang="0">
                    <a:pos x="1118" y="873"/>
                  </a:cxn>
                  <a:cxn ang="0">
                    <a:pos x="1413" y="339"/>
                  </a:cxn>
                  <a:cxn ang="0">
                    <a:pos x="1384" y="145"/>
                  </a:cxn>
                  <a:cxn ang="0">
                    <a:pos x="1344" y="0"/>
                  </a:cxn>
                </a:cxnLst>
                <a:rect l="0" t="0" r="r" b="b"/>
                <a:pathLst>
                  <a:path w="2618" h="4515">
                    <a:moveTo>
                      <a:pt x="1344" y="0"/>
                    </a:moveTo>
                    <a:lnTo>
                      <a:pt x="1487" y="65"/>
                    </a:lnTo>
                    <a:lnTo>
                      <a:pt x="1595" y="35"/>
                    </a:lnTo>
                    <a:lnTo>
                      <a:pt x="1723" y="110"/>
                    </a:lnTo>
                    <a:lnTo>
                      <a:pt x="1870" y="185"/>
                    </a:lnTo>
                    <a:lnTo>
                      <a:pt x="1862" y="369"/>
                    </a:lnTo>
                    <a:lnTo>
                      <a:pt x="1890" y="549"/>
                    </a:lnTo>
                    <a:lnTo>
                      <a:pt x="1935" y="664"/>
                    </a:lnTo>
                    <a:lnTo>
                      <a:pt x="1847" y="788"/>
                    </a:lnTo>
                    <a:lnTo>
                      <a:pt x="1817" y="1023"/>
                    </a:lnTo>
                    <a:lnTo>
                      <a:pt x="1713" y="1163"/>
                    </a:lnTo>
                    <a:lnTo>
                      <a:pt x="1832" y="1208"/>
                    </a:lnTo>
                    <a:lnTo>
                      <a:pt x="1847" y="1337"/>
                    </a:lnTo>
                    <a:lnTo>
                      <a:pt x="1979" y="1477"/>
                    </a:lnTo>
                    <a:lnTo>
                      <a:pt x="2127" y="1592"/>
                    </a:lnTo>
                    <a:lnTo>
                      <a:pt x="2363" y="1567"/>
                    </a:lnTo>
                    <a:lnTo>
                      <a:pt x="2378" y="1682"/>
                    </a:lnTo>
                    <a:lnTo>
                      <a:pt x="2344" y="1805"/>
                    </a:lnTo>
                    <a:lnTo>
                      <a:pt x="2200" y="1816"/>
                    </a:lnTo>
                    <a:lnTo>
                      <a:pt x="2137" y="1906"/>
                    </a:lnTo>
                    <a:lnTo>
                      <a:pt x="2122" y="2076"/>
                    </a:lnTo>
                    <a:lnTo>
                      <a:pt x="2009" y="2146"/>
                    </a:lnTo>
                    <a:lnTo>
                      <a:pt x="2137" y="2279"/>
                    </a:lnTo>
                    <a:lnTo>
                      <a:pt x="2172" y="2429"/>
                    </a:lnTo>
                    <a:lnTo>
                      <a:pt x="2314" y="2464"/>
                    </a:lnTo>
                    <a:lnTo>
                      <a:pt x="2245" y="2579"/>
                    </a:lnTo>
                    <a:lnTo>
                      <a:pt x="2314" y="2674"/>
                    </a:lnTo>
                    <a:lnTo>
                      <a:pt x="2373" y="2803"/>
                    </a:lnTo>
                    <a:lnTo>
                      <a:pt x="2497" y="2823"/>
                    </a:lnTo>
                    <a:lnTo>
                      <a:pt x="2557" y="2876"/>
                    </a:lnTo>
                    <a:lnTo>
                      <a:pt x="2618" y="2931"/>
                    </a:lnTo>
                    <a:lnTo>
                      <a:pt x="2377" y="3108"/>
                    </a:lnTo>
                    <a:lnTo>
                      <a:pt x="2230" y="3464"/>
                    </a:lnTo>
                    <a:lnTo>
                      <a:pt x="2304" y="3582"/>
                    </a:lnTo>
                    <a:lnTo>
                      <a:pt x="2418" y="3582"/>
                    </a:lnTo>
                    <a:lnTo>
                      <a:pt x="2490" y="3626"/>
                    </a:lnTo>
                    <a:lnTo>
                      <a:pt x="2388" y="3716"/>
                    </a:lnTo>
                    <a:lnTo>
                      <a:pt x="2479" y="3746"/>
                    </a:lnTo>
                    <a:lnTo>
                      <a:pt x="2283" y="3960"/>
                    </a:lnTo>
                    <a:lnTo>
                      <a:pt x="2392" y="4140"/>
                    </a:lnTo>
                    <a:lnTo>
                      <a:pt x="2374" y="4271"/>
                    </a:lnTo>
                    <a:lnTo>
                      <a:pt x="2213" y="4274"/>
                    </a:lnTo>
                    <a:lnTo>
                      <a:pt x="2002" y="4410"/>
                    </a:lnTo>
                    <a:lnTo>
                      <a:pt x="1625" y="4515"/>
                    </a:lnTo>
                    <a:lnTo>
                      <a:pt x="1384" y="4515"/>
                    </a:lnTo>
                    <a:lnTo>
                      <a:pt x="1354" y="4390"/>
                    </a:lnTo>
                    <a:lnTo>
                      <a:pt x="1133" y="4390"/>
                    </a:lnTo>
                    <a:lnTo>
                      <a:pt x="1019" y="4480"/>
                    </a:lnTo>
                    <a:lnTo>
                      <a:pt x="969" y="4393"/>
                    </a:lnTo>
                    <a:lnTo>
                      <a:pt x="960" y="4211"/>
                    </a:lnTo>
                    <a:lnTo>
                      <a:pt x="897" y="4109"/>
                    </a:lnTo>
                    <a:lnTo>
                      <a:pt x="778" y="4261"/>
                    </a:lnTo>
                    <a:lnTo>
                      <a:pt x="763" y="4410"/>
                    </a:lnTo>
                    <a:lnTo>
                      <a:pt x="623" y="4462"/>
                    </a:lnTo>
                    <a:lnTo>
                      <a:pt x="540" y="4363"/>
                    </a:lnTo>
                    <a:lnTo>
                      <a:pt x="221" y="4285"/>
                    </a:lnTo>
                    <a:lnTo>
                      <a:pt x="202" y="4178"/>
                    </a:lnTo>
                    <a:lnTo>
                      <a:pt x="136" y="4126"/>
                    </a:lnTo>
                    <a:lnTo>
                      <a:pt x="118" y="4290"/>
                    </a:lnTo>
                    <a:lnTo>
                      <a:pt x="0" y="4182"/>
                    </a:lnTo>
                    <a:lnTo>
                      <a:pt x="54" y="4000"/>
                    </a:lnTo>
                    <a:lnTo>
                      <a:pt x="10" y="3467"/>
                    </a:lnTo>
                    <a:lnTo>
                      <a:pt x="188" y="2848"/>
                    </a:lnTo>
                    <a:lnTo>
                      <a:pt x="325" y="2599"/>
                    </a:lnTo>
                    <a:lnTo>
                      <a:pt x="409" y="2309"/>
                    </a:lnTo>
                    <a:lnTo>
                      <a:pt x="561" y="2116"/>
                    </a:lnTo>
                    <a:lnTo>
                      <a:pt x="704" y="2011"/>
                    </a:lnTo>
                    <a:lnTo>
                      <a:pt x="925" y="1562"/>
                    </a:lnTo>
                    <a:lnTo>
                      <a:pt x="813" y="1352"/>
                    </a:lnTo>
                    <a:lnTo>
                      <a:pt x="881" y="1148"/>
                    </a:lnTo>
                    <a:lnTo>
                      <a:pt x="886" y="968"/>
                    </a:lnTo>
                    <a:lnTo>
                      <a:pt x="1118" y="873"/>
                    </a:lnTo>
                    <a:lnTo>
                      <a:pt x="1428" y="474"/>
                    </a:lnTo>
                    <a:lnTo>
                      <a:pt x="1413" y="339"/>
                    </a:lnTo>
                    <a:lnTo>
                      <a:pt x="1487" y="259"/>
                    </a:lnTo>
                    <a:lnTo>
                      <a:pt x="1384" y="145"/>
                    </a:lnTo>
                    <a:lnTo>
                      <a:pt x="1166" y="110"/>
                    </a:lnTo>
                    <a:lnTo>
                      <a:pt x="1344"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9" name="Freeform 41">
                <a:extLst>
                  <a:ext uri="{FF2B5EF4-FFF2-40B4-BE49-F238E27FC236}">
                    <a16:creationId xmlns:a16="http://schemas.microsoft.com/office/drawing/2014/main" id="{C27C9A5A-29A5-4E93-9A46-41C9C8267B86}"/>
                  </a:ext>
                </a:extLst>
              </p:cNvPr>
              <p:cNvSpPr>
                <a:spLocks/>
              </p:cNvSpPr>
              <p:nvPr/>
            </p:nvSpPr>
            <p:spPr bwMode="auto">
              <a:xfrm>
                <a:off x="2355" y="1327"/>
                <a:ext cx="544" cy="756"/>
              </a:xfrm>
              <a:custGeom>
                <a:avLst/>
                <a:gdLst/>
                <a:ahLst/>
                <a:cxnLst>
                  <a:cxn ang="0">
                    <a:pos x="1491" y="74"/>
                  </a:cxn>
                  <a:cxn ang="0">
                    <a:pos x="1737" y="313"/>
                  </a:cxn>
                  <a:cxn ang="0">
                    <a:pos x="2062" y="328"/>
                  </a:cxn>
                  <a:cxn ang="0">
                    <a:pos x="2106" y="613"/>
                  </a:cxn>
                  <a:cxn ang="0">
                    <a:pos x="2314" y="713"/>
                  </a:cxn>
                  <a:cxn ang="0">
                    <a:pos x="2299" y="936"/>
                  </a:cxn>
                  <a:cxn ang="0">
                    <a:pos x="2525" y="836"/>
                  </a:cxn>
                  <a:cxn ang="0">
                    <a:pos x="2875" y="718"/>
                  </a:cxn>
                  <a:cxn ang="0">
                    <a:pos x="3480" y="926"/>
                  </a:cxn>
                  <a:cxn ang="0">
                    <a:pos x="3617" y="1075"/>
                  </a:cxn>
                  <a:cxn ang="0">
                    <a:pos x="3214" y="1315"/>
                  </a:cxn>
                  <a:cxn ang="0">
                    <a:pos x="2939" y="1792"/>
                  </a:cxn>
                  <a:cxn ang="0">
                    <a:pos x="2964" y="2109"/>
                  </a:cxn>
                  <a:cxn ang="0">
                    <a:pos x="2924" y="2470"/>
                  </a:cxn>
                  <a:cxn ang="0">
                    <a:pos x="2905" y="2806"/>
                  </a:cxn>
                  <a:cxn ang="0">
                    <a:pos x="2991" y="3092"/>
                  </a:cxn>
                  <a:cxn ang="0">
                    <a:pos x="2526" y="3109"/>
                  </a:cxn>
                  <a:cxn ang="0">
                    <a:pos x="2185" y="3333"/>
                  </a:cxn>
                  <a:cxn ang="0">
                    <a:pos x="1726" y="3553"/>
                  </a:cxn>
                  <a:cxn ang="0">
                    <a:pos x="1532" y="3739"/>
                  </a:cxn>
                  <a:cxn ang="0">
                    <a:pos x="1294" y="4271"/>
                  </a:cxn>
                  <a:cxn ang="0">
                    <a:pos x="1339" y="4883"/>
                  </a:cxn>
                  <a:cxn ang="0">
                    <a:pos x="1156" y="5069"/>
                  </a:cxn>
                  <a:cxn ang="0">
                    <a:pos x="969" y="4918"/>
                  </a:cxn>
                  <a:cxn ang="0">
                    <a:pos x="969" y="4707"/>
                  </a:cxn>
                  <a:cxn ang="0">
                    <a:pos x="793" y="4522"/>
                  </a:cxn>
                  <a:cxn ang="0">
                    <a:pos x="777" y="4317"/>
                  </a:cxn>
                  <a:cxn ang="0">
                    <a:pos x="857" y="4061"/>
                  </a:cxn>
                  <a:cxn ang="0">
                    <a:pos x="1033" y="3927"/>
                  </a:cxn>
                  <a:cxn ang="0">
                    <a:pos x="784" y="3836"/>
                  </a:cxn>
                  <a:cxn ang="0">
                    <a:pos x="503" y="3583"/>
                  </a:cxn>
                  <a:cxn ang="0">
                    <a:pos x="369" y="3407"/>
                  </a:cxn>
                  <a:cxn ang="0">
                    <a:pos x="501" y="3034"/>
                  </a:cxn>
                  <a:cxn ang="0">
                    <a:pos x="544" y="2792"/>
                  </a:cxn>
                  <a:cxn ang="0">
                    <a:pos x="525" y="2431"/>
                  </a:cxn>
                  <a:cxn ang="0">
                    <a:pos x="250" y="2283"/>
                  </a:cxn>
                  <a:cxn ang="0">
                    <a:pos x="0" y="2248"/>
                  </a:cxn>
                  <a:cxn ang="0">
                    <a:pos x="575" y="1759"/>
                  </a:cxn>
                  <a:cxn ang="0">
                    <a:pos x="955" y="1161"/>
                  </a:cxn>
                  <a:cxn ang="0">
                    <a:pos x="1295" y="0"/>
                  </a:cxn>
                </a:cxnLst>
                <a:rect l="0" t="0" r="r" b="b"/>
                <a:pathLst>
                  <a:path w="3633" h="5119">
                    <a:moveTo>
                      <a:pt x="1295" y="0"/>
                    </a:moveTo>
                    <a:lnTo>
                      <a:pt x="1491" y="74"/>
                    </a:lnTo>
                    <a:lnTo>
                      <a:pt x="1683" y="194"/>
                    </a:lnTo>
                    <a:lnTo>
                      <a:pt x="1737" y="313"/>
                    </a:lnTo>
                    <a:lnTo>
                      <a:pt x="1860" y="209"/>
                    </a:lnTo>
                    <a:lnTo>
                      <a:pt x="2062" y="328"/>
                    </a:lnTo>
                    <a:lnTo>
                      <a:pt x="2195" y="503"/>
                    </a:lnTo>
                    <a:lnTo>
                      <a:pt x="2106" y="613"/>
                    </a:lnTo>
                    <a:lnTo>
                      <a:pt x="2225" y="608"/>
                    </a:lnTo>
                    <a:lnTo>
                      <a:pt x="2314" y="713"/>
                    </a:lnTo>
                    <a:lnTo>
                      <a:pt x="2431" y="776"/>
                    </a:lnTo>
                    <a:lnTo>
                      <a:pt x="2299" y="936"/>
                    </a:lnTo>
                    <a:lnTo>
                      <a:pt x="2377" y="956"/>
                    </a:lnTo>
                    <a:lnTo>
                      <a:pt x="2525" y="836"/>
                    </a:lnTo>
                    <a:lnTo>
                      <a:pt x="2756" y="763"/>
                    </a:lnTo>
                    <a:lnTo>
                      <a:pt x="2875" y="718"/>
                    </a:lnTo>
                    <a:lnTo>
                      <a:pt x="3318" y="926"/>
                    </a:lnTo>
                    <a:lnTo>
                      <a:pt x="3480" y="926"/>
                    </a:lnTo>
                    <a:lnTo>
                      <a:pt x="3633" y="926"/>
                    </a:lnTo>
                    <a:lnTo>
                      <a:pt x="3617" y="1075"/>
                    </a:lnTo>
                    <a:lnTo>
                      <a:pt x="3382" y="1285"/>
                    </a:lnTo>
                    <a:lnTo>
                      <a:pt x="3214" y="1315"/>
                    </a:lnTo>
                    <a:lnTo>
                      <a:pt x="3129" y="1513"/>
                    </a:lnTo>
                    <a:lnTo>
                      <a:pt x="2939" y="1792"/>
                    </a:lnTo>
                    <a:lnTo>
                      <a:pt x="3013" y="1899"/>
                    </a:lnTo>
                    <a:lnTo>
                      <a:pt x="2964" y="2109"/>
                    </a:lnTo>
                    <a:lnTo>
                      <a:pt x="3051" y="2256"/>
                    </a:lnTo>
                    <a:lnTo>
                      <a:pt x="2924" y="2470"/>
                    </a:lnTo>
                    <a:lnTo>
                      <a:pt x="2878" y="2641"/>
                    </a:lnTo>
                    <a:lnTo>
                      <a:pt x="2905" y="2806"/>
                    </a:lnTo>
                    <a:lnTo>
                      <a:pt x="3009" y="2912"/>
                    </a:lnTo>
                    <a:lnTo>
                      <a:pt x="2991" y="3092"/>
                    </a:lnTo>
                    <a:lnTo>
                      <a:pt x="2658" y="3184"/>
                    </a:lnTo>
                    <a:lnTo>
                      <a:pt x="2526" y="3109"/>
                    </a:lnTo>
                    <a:lnTo>
                      <a:pt x="2352" y="3152"/>
                    </a:lnTo>
                    <a:lnTo>
                      <a:pt x="2185" y="3333"/>
                    </a:lnTo>
                    <a:lnTo>
                      <a:pt x="1877" y="3544"/>
                    </a:lnTo>
                    <a:lnTo>
                      <a:pt x="1726" y="3553"/>
                    </a:lnTo>
                    <a:lnTo>
                      <a:pt x="1592" y="3624"/>
                    </a:lnTo>
                    <a:lnTo>
                      <a:pt x="1532" y="3739"/>
                    </a:lnTo>
                    <a:lnTo>
                      <a:pt x="1464" y="3967"/>
                    </a:lnTo>
                    <a:lnTo>
                      <a:pt x="1294" y="4271"/>
                    </a:lnTo>
                    <a:lnTo>
                      <a:pt x="1328" y="4564"/>
                    </a:lnTo>
                    <a:lnTo>
                      <a:pt x="1339" y="4883"/>
                    </a:lnTo>
                    <a:lnTo>
                      <a:pt x="1208" y="5119"/>
                    </a:lnTo>
                    <a:lnTo>
                      <a:pt x="1156" y="5069"/>
                    </a:lnTo>
                    <a:lnTo>
                      <a:pt x="1028" y="5047"/>
                    </a:lnTo>
                    <a:lnTo>
                      <a:pt x="969" y="4918"/>
                    </a:lnTo>
                    <a:lnTo>
                      <a:pt x="900" y="4824"/>
                    </a:lnTo>
                    <a:lnTo>
                      <a:pt x="969" y="4707"/>
                    </a:lnTo>
                    <a:lnTo>
                      <a:pt x="825" y="4672"/>
                    </a:lnTo>
                    <a:lnTo>
                      <a:pt x="793" y="4522"/>
                    </a:lnTo>
                    <a:lnTo>
                      <a:pt x="665" y="4391"/>
                    </a:lnTo>
                    <a:lnTo>
                      <a:pt x="777" y="4317"/>
                    </a:lnTo>
                    <a:lnTo>
                      <a:pt x="792" y="4146"/>
                    </a:lnTo>
                    <a:lnTo>
                      <a:pt x="857" y="4061"/>
                    </a:lnTo>
                    <a:lnTo>
                      <a:pt x="1002" y="4050"/>
                    </a:lnTo>
                    <a:lnTo>
                      <a:pt x="1033" y="3927"/>
                    </a:lnTo>
                    <a:lnTo>
                      <a:pt x="1020" y="3811"/>
                    </a:lnTo>
                    <a:lnTo>
                      <a:pt x="784" y="3836"/>
                    </a:lnTo>
                    <a:lnTo>
                      <a:pt x="647" y="3731"/>
                    </a:lnTo>
                    <a:lnTo>
                      <a:pt x="503" y="3583"/>
                    </a:lnTo>
                    <a:lnTo>
                      <a:pt x="485" y="3454"/>
                    </a:lnTo>
                    <a:lnTo>
                      <a:pt x="369" y="3407"/>
                    </a:lnTo>
                    <a:lnTo>
                      <a:pt x="473" y="3268"/>
                    </a:lnTo>
                    <a:lnTo>
                      <a:pt x="501" y="3034"/>
                    </a:lnTo>
                    <a:lnTo>
                      <a:pt x="590" y="2911"/>
                    </a:lnTo>
                    <a:lnTo>
                      <a:pt x="544" y="2792"/>
                    </a:lnTo>
                    <a:lnTo>
                      <a:pt x="515" y="2611"/>
                    </a:lnTo>
                    <a:lnTo>
                      <a:pt x="525" y="2431"/>
                    </a:lnTo>
                    <a:lnTo>
                      <a:pt x="378" y="2356"/>
                    </a:lnTo>
                    <a:lnTo>
                      <a:pt x="250" y="2283"/>
                    </a:lnTo>
                    <a:lnTo>
                      <a:pt x="143" y="2310"/>
                    </a:lnTo>
                    <a:lnTo>
                      <a:pt x="0" y="2248"/>
                    </a:lnTo>
                    <a:lnTo>
                      <a:pt x="378" y="1913"/>
                    </a:lnTo>
                    <a:lnTo>
                      <a:pt x="575" y="1759"/>
                    </a:lnTo>
                    <a:lnTo>
                      <a:pt x="807" y="1325"/>
                    </a:lnTo>
                    <a:lnTo>
                      <a:pt x="955" y="1161"/>
                    </a:lnTo>
                    <a:lnTo>
                      <a:pt x="1195" y="517"/>
                    </a:lnTo>
                    <a:lnTo>
                      <a:pt x="1295"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0" name="Freeform 42">
                <a:extLst>
                  <a:ext uri="{FF2B5EF4-FFF2-40B4-BE49-F238E27FC236}">
                    <a16:creationId xmlns:a16="http://schemas.microsoft.com/office/drawing/2014/main" id="{AA46EB47-6BF2-47DA-8619-F70C48E2E9F8}"/>
                  </a:ext>
                </a:extLst>
              </p:cNvPr>
              <p:cNvSpPr>
                <a:spLocks/>
              </p:cNvSpPr>
              <p:nvPr/>
            </p:nvSpPr>
            <p:spPr bwMode="auto">
              <a:xfrm>
                <a:off x="2536" y="1463"/>
                <a:ext cx="464" cy="672"/>
              </a:xfrm>
              <a:custGeom>
                <a:avLst/>
                <a:gdLst/>
                <a:ahLst/>
                <a:cxnLst>
                  <a:cxn ang="0">
                    <a:pos x="2005" y="20"/>
                  </a:cxn>
                  <a:cxn ang="0">
                    <a:pos x="2163" y="95"/>
                  </a:cxn>
                  <a:cxn ang="0">
                    <a:pos x="2116" y="439"/>
                  </a:cxn>
                  <a:cxn ang="0">
                    <a:pos x="2246" y="694"/>
                  </a:cxn>
                  <a:cxn ang="0">
                    <a:pos x="2269" y="1289"/>
                  </a:cxn>
                  <a:cxn ang="0">
                    <a:pos x="2477" y="1839"/>
                  </a:cxn>
                  <a:cxn ang="0">
                    <a:pos x="2375" y="2090"/>
                  </a:cxn>
                  <a:cxn ang="0">
                    <a:pos x="2393" y="2402"/>
                  </a:cxn>
                  <a:cxn ang="0">
                    <a:pos x="2196" y="2537"/>
                  </a:cxn>
                  <a:cxn ang="0">
                    <a:pos x="1828" y="2921"/>
                  </a:cxn>
                  <a:cxn ang="0">
                    <a:pos x="1584" y="2945"/>
                  </a:cxn>
                  <a:cxn ang="0">
                    <a:pos x="1281" y="2970"/>
                  </a:cxn>
                  <a:cxn ang="0">
                    <a:pos x="1119" y="2953"/>
                  </a:cxn>
                  <a:cxn ang="0">
                    <a:pos x="939" y="3006"/>
                  </a:cxn>
                  <a:cxn ang="0">
                    <a:pos x="1001" y="3276"/>
                  </a:cxn>
                  <a:cxn ang="0">
                    <a:pos x="804" y="3539"/>
                  </a:cxn>
                  <a:cxn ang="0">
                    <a:pos x="576" y="3575"/>
                  </a:cxn>
                  <a:cxn ang="0">
                    <a:pos x="316" y="3599"/>
                  </a:cxn>
                  <a:cxn ang="0">
                    <a:pos x="197" y="3389"/>
                  </a:cxn>
                  <a:cxn ang="0">
                    <a:pos x="0" y="3356"/>
                  </a:cxn>
                  <a:cxn ang="0">
                    <a:pos x="96" y="2921"/>
                  </a:cxn>
                  <a:cxn ang="0">
                    <a:pos x="202" y="2438"/>
                  </a:cxn>
                  <a:cxn ang="0">
                    <a:pos x="304" y="2163"/>
                  </a:cxn>
                  <a:cxn ang="0">
                    <a:pos x="533" y="2095"/>
                  </a:cxn>
                  <a:cxn ang="0">
                    <a:pos x="911" y="1784"/>
                  </a:cxn>
                  <a:cxn ang="0">
                    <a:pos x="1159" y="1808"/>
                  </a:cxn>
                  <a:cxn ang="0">
                    <a:pos x="1438" y="1588"/>
                  </a:cxn>
                  <a:cxn ang="0">
                    <a:pos x="1336" y="1373"/>
                  </a:cxn>
                  <a:cxn ang="0">
                    <a:pos x="1474" y="1065"/>
                  </a:cxn>
                  <a:cxn ang="0">
                    <a:pos x="1442" y="778"/>
                  </a:cxn>
                  <a:cxn ang="0">
                    <a:pos x="1537" y="467"/>
                  </a:cxn>
                  <a:cxn ang="0">
                    <a:pos x="1738" y="287"/>
                  </a:cxn>
                  <a:cxn ang="0">
                    <a:pos x="1938" y="0"/>
                  </a:cxn>
                </a:cxnLst>
                <a:rect l="0" t="0" r="r" b="b"/>
                <a:pathLst>
                  <a:path w="2477" h="3635">
                    <a:moveTo>
                      <a:pt x="1938" y="0"/>
                    </a:moveTo>
                    <a:lnTo>
                      <a:pt x="2005" y="20"/>
                    </a:lnTo>
                    <a:lnTo>
                      <a:pt x="2076" y="84"/>
                    </a:lnTo>
                    <a:lnTo>
                      <a:pt x="2163" y="95"/>
                    </a:lnTo>
                    <a:lnTo>
                      <a:pt x="2087" y="287"/>
                    </a:lnTo>
                    <a:lnTo>
                      <a:pt x="2116" y="439"/>
                    </a:lnTo>
                    <a:lnTo>
                      <a:pt x="2174" y="588"/>
                    </a:lnTo>
                    <a:lnTo>
                      <a:pt x="2246" y="694"/>
                    </a:lnTo>
                    <a:lnTo>
                      <a:pt x="2171" y="810"/>
                    </a:lnTo>
                    <a:lnTo>
                      <a:pt x="2269" y="1289"/>
                    </a:lnTo>
                    <a:lnTo>
                      <a:pt x="2325" y="1653"/>
                    </a:lnTo>
                    <a:lnTo>
                      <a:pt x="2477" y="1839"/>
                    </a:lnTo>
                    <a:lnTo>
                      <a:pt x="2400" y="1950"/>
                    </a:lnTo>
                    <a:lnTo>
                      <a:pt x="2375" y="2090"/>
                    </a:lnTo>
                    <a:lnTo>
                      <a:pt x="2340" y="2234"/>
                    </a:lnTo>
                    <a:lnTo>
                      <a:pt x="2393" y="2402"/>
                    </a:lnTo>
                    <a:lnTo>
                      <a:pt x="2324" y="2478"/>
                    </a:lnTo>
                    <a:lnTo>
                      <a:pt x="2196" y="2537"/>
                    </a:lnTo>
                    <a:lnTo>
                      <a:pt x="2041" y="2681"/>
                    </a:lnTo>
                    <a:lnTo>
                      <a:pt x="1828" y="2921"/>
                    </a:lnTo>
                    <a:lnTo>
                      <a:pt x="1734" y="2909"/>
                    </a:lnTo>
                    <a:lnTo>
                      <a:pt x="1584" y="2945"/>
                    </a:lnTo>
                    <a:lnTo>
                      <a:pt x="1413" y="3048"/>
                    </a:lnTo>
                    <a:lnTo>
                      <a:pt x="1281" y="2970"/>
                    </a:lnTo>
                    <a:lnTo>
                      <a:pt x="1194" y="3003"/>
                    </a:lnTo>
                    <a:lnTo>
                      <a:pt x="1119" y="2953"/>
                    </a:lnTo>
                    <a:lnTo>
                      <a:pt x="1029" y="2952"/>
                    </a:lnTo>
                    <a:lnTo>
                      <a:pt x="939" y="3006"/>
                    </a:lnTo>
                    <a:lnTo>
                      <a:pt x="1002" y="3123"/>
                    </a:lnTo>
                    <a:lnTo>
                      <a:pt x="1001" y="3276"/>
                    </a:lnTo>
                    <a:lnTo>
                      <a:pt x="946" y="3376"/>
                    </a:lnTo>
                    <a:lnTo>
                      <a:pt x="804" y="3539"/>
                    </a:lnTo>
                    <a:lnTo>
                      <a:pt x="674" y="3495"/>
                    </a:lnTo>
                    <a:lnTo>
                      <a:pt x="576" y="3575"/>
                    </a:lnTo>
                    <a:lnTo>
                      <a:pt x="438" y="3635"/>
                    </a:lnTo>
                    <a:lnTo>
                      <a:pt x="316" y="3599"/>
                    </a:lnTo>
                    <a:lnTo>
                      <a:pt x="245" y="3519"/>
                    </a:lnTo>
                    <a:lnTo>
                      <a:pt x="197" y="3389"/>
                    </a:lnTo>
                    <a:lnTo>
                      <a:pt x="51" y="3401"/>
                    </a:lnTo>
                    <a:lnTo>
                      <a:pt x="0" y="3356"/>
                    </a:lnTo>
                    <a:lnTo>
                      <a:pt x="103" y="3168"/>
                    </a:lnTo>
                    <a:lnTo>
                      <a:pt x="96" y="2921"/>
                    </a:lnTo>
                    <a:lnTo>
                      <a:pt x="68" y="2681"/>
                    </a:lnTo>
                    <a:lnTo>
                      <a:pt x="202" y="2438"/>
                    </a:lnTo>
                    <a:lnTo>
                      <a:pt x="257" y="2250"/>
                    </a:lnTo>
                    <a:lnTo>
                      <a:pt x="304" y="2163"/>
                    </a:lnTo>
                    <a:lnTo>
                      <a:pt x="411" y="2103"/>
                    </a:lnTo>
                    <a:lnTo>
                      <a:pt x="533" y="2095"/>
                    </a:lnTo>
                    <a:lnTo>
                      <a:pt x="781" y="1927"/>
                    </a:lnTo>
                    <a:lnTo>
                      <a:pt x="911" y="1784"/>
                    </a:lnTo>
                    <a:lnTo>
                      <a:pt x="1052" y="1748"/>
                    </a:lnTo>
                    <a:lnTo>
                      <a:pt x="1159" y="1808"/>
                    </a:lnTo>
                    <a:lnTo>
                      <a:pt x="1427" y="1732"/>
                    </a:lnTo>
                    <a:lnTo>
                      <a:pt x="1438" y="1588"/>
                    </a:lnTo>
                    <a:lnTo>
                      <a:pt x="1356" y="1504"/>
                    </a:lnTo>
                    <a:lnTo>
                      <a:pt x="1336" y="1373"/>
                    </a:lnTo>
                    <a:lnTo>
                      <a:pt x="1371" y="1233"/>
                    </a:lnTo>
                    <a:lnTo>
                      <a:pt x="1474" y="1065"/>
                    </a:lnTo>
                    <a:lnTo>
                      <a:pt x="1403" y="946"/>
                    </a:lnTo>
                    <a:lnTo>
                      <a:pt x="1442" y="778"/>
                    </a:lnTo>
                    <a:lnTo>
                      <a:pt x="1383" y="694"/>
                    </a:lnTo>
                    <a:lnTo>
                      <a:pt x="1537" y="467"/>
                    </a:lnTo>
                    <a:lnTo>
                      <a:pt x="1604" y="311"/>
                    </a:lnTo>
                    <a:lnTo>
                      <a:pt x="1738" y="287"/>
                    </a:lnTo>
                    <a:lnTo>
                      <a:pt x="1923" y="120"/>
                    </a:lnTo>
                    <a:lnTo>
                      <a:pt x="1938"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1" name="Freeform 43">
                <a:extLst>
                  <a:ext uri="{FF2B5EF4-FFF2-40B4-BE49-F238E27FC236}">
                    <a16:creationId xmlns:a16="http://schemas.microsoft.com/office/drawing/2014/main" id="{EFC668B1-00F9-4E81-ABDD-5DBEF2691EE1}"/>
                  </a:ext>
                </a:extLst>
              </p:cNvPr>
              <p:cNvSpPr>
                <a:spLocks/>
              </p:cNvSpPr>
              <p:nvPr/>
            </p:nvSpPr>
            <p:spPr bwMode="auto">
              <a:xfrm>
                <a:off x="2927" y="1466"/>
                <a:ext cx="336" cy="428"/>
              </a:xfrm>
              <a:custGeom>
                <a:avLst/>
                <a:gdLst/>
                <a:ahLst/>
                <a:cxnLst>
                  <a:cxn ang="0">
                    <a:pos x="75" y="84"/>
                  </a:cxn>
                  <a:cxn ang="0">
                    <a:pos x="260" y="60"/>
                  </a:cxn>
                  <a:cxn ang="0">
                    <a:pos x="531" y="0"/>
                  </a:cxn>
                  <a:cxn ang="0">
                    <a:pos x="827" y="140"/>
                  </a:cxn>
                  <a:cxn ang="0">
                    <a:pos x="1268" y="439"/>
                  </a:cxn>
                  <a:cxn ang="0">
                    <a:pos x="1417" y="634"/>
                  </a:cxn>
                  <a:cxn ang="0">
                    <a:pos x="1575" y="810"/>
                  </a:cxn>
                  <a:cxn ang="0">
                    <a:pos x="1740" y="870"/>
                  </a:cxn>
                  <a:cxn ang="0">
                    <a:pos x="1795" y="958"/>
                  </a:cxn>
                  <a:cxn ang="0">
                    <a:pos x="1728" y="993"/>
                  </a:cxn>
                  <a:cxn ang="0">
                    <a:pos x="1618" y="981"/>
                  </a:cxn>
                  <a:cxn ang="0">
                    <a:pos x="1527" y="1113"/>
                  </a:cxn>
                  <a:cxn ang="0">
                    <a:pos x="1417" y="1293"/>
                  </a:cxn>
                  <a:cxn ang="0">
                    <a:pos x="1291" y="1492"/>
                  </a:cxn>
                  <a:cxn ang="0">
                    <a:pos x="1197" y="1508"/>
                  </a:cxn>
                  <a:cxn ang="0">
                    <a:pos x="1175" y="1638"/>
                  </a:cxn>
                  <a:cxn ang="0">
                    <a:pos x="1145" y="1803"/>
                  </a:cxn>
                  <a:cxn ang="0">
                    <a:pos x="1079" y="1867"/>
                  </a:cxn>
                  <a:cxn ang="0">
                    <a:pos x="1127" y="2046"/>
                  </a:cxn>
                  <a:cxn ang="0">
                    <a:pos x="1113" y="2210"/>
                  </a:cxn>
                  <a:cxn ang="0">
                    <a:pos x="1020" y="2234"/>
                  </a:cxn>
                  <a:cxn ang="0">
                    <a:pos x="968" y="2318"/>
                  </a:cxn>
                  <a:cxn ang="0">
                    <a:pos x="724" y="2091"/>
                  </a:cxn>
                  <a:cxn ang="0">
                    <a:pos x="606" y="2071"/>
                  </a:cxn>
                  <a:cxn ang="0">
                    <a:pos x="441" y="2115"/>
                  </a:cxn>
                  <a:cxn ang="0">
                    <a:pos x="287" y="2079"/>
                  </a:cxn>
                  <a:cxn ang="0">
                    <a:pos x="311" y="1939"/>
                  </a:cxn>
                  <a:cxn ang="0">
                    <a:pos x="390" y="1827"/>
                  </a:cxn>
                  <a:cxn ang="0">
                    <a:pos x="236" y="1640"/>
                  </a:cxn>
                  <a:cxn ang="0">
                    <a:pos x="181" y="1277"/>
                  </a:cxn>
                  <a:cxn ang="0">
                    <a:pos x="83" y="798"/>
                  </a:cxn>
                  <a:cxn ang="0">
                    <a:pos x="157" y="682"/>
                  </a:cxn>
                  <a:cxn ang="0">
                    <a:pos x="87" y="575"/>
                  </a:cxn>
                  <a:cxn ang="0">
                    <a:pos x="28" y="431"/>
                  </a:cxn>
                  <a:cxn ang="0">
                    <a:pos x="0" y="275"/>
                  </a:cxn>
                  <a:cxn ang="0">
                    <a:pos x="75" y="84"/>
                  </a:cxn>
                </a:cxnLst>
                <a:rect l="0" t="0" r="r" b="b"/>
                <a:pathLst>
                  <a:path w="1795" h="2318">
                    <a:moveTo>
                      <a:pt x="75" y="84"/>
                    </a:moveTo>
                    <a:lnTo>
                      <a:pt x="260" y="60"/>
                    </a:lnTo>
                    <a:lnTo>
                      <a:pt x="531" y="0"/>
                    </a:lnTo>
                    <a:lnTo>
                      <a:pt x="827" y="140"/>
                    </a:lnTo>
                    <a:lnTo>
                      <a:pt x="1268" y="439"/>
                    </a:lnTo>
                    <a:lnTo>
                      <a:pt x="1417" y="634"/>
                    </a:lnTo>
                    <a:lnTo>
                      <a:pt x="1575" y="810"/>
                    </a:lnTo>
                    <a:lnTo>
                      <a:pt x="1740" y="870"/>
                    </a:lnTo>
                    <a:lnTo>
                      <a:pt x="1795" y="958"/>
                    </a:lnTo>
                    <a:lnTo>
                      <a:pt x="1728" y="993"/>
                    </a:lnTo>
                    <a:lnTo>
                      <a:pt x="1618" y="981"/>
                    </a:lnTo>
                    <a:lnTo>
                      <a:pt x="1527" y="1113"/>
                    </a:lnTo>
                    <a:lnTo>
                      <a:pt x="1417" y="1293"/>
                    </a:lnTo>
                    <a:lnTo>
                      <a:pt x="1291" y="1492"/>
                    </a:lnTo>
                    <a:lnTo>
                      <a:pt x="1197" y="1508"/>
                    </a:lnTo>
                    <a:lnTo>
                      <a:pt x="1175" y="1638"/>
                    </a:lnTo>
                    <a:lnTo>
                      <a:pt x="1145" y="1803"/>
                    </a:lnTo>
                    <a:lnTo>
                      <a:pt x="1079" y="1867"/>
                    </a:lnTo>
                    <a:lnTo>
                      <a:pt x="1127" y="2046"/>
                    </a:lnTo>
                    <a:lnTo>
                      <a:pt x="1113" y="2210"/>
                    </a:lnTo>
                    <a:lnTo>
                      <a:pt x="1020" y="2234"/>
                    </a:lnTo>
                    <a:lnTo>
                      <a:pt x="968" y="2318"/>
                    </a:lnTo>
                    <a:lnTo>
                      <a:pt x="724" y="2091"/>
                    </a:lnTo>
                    <a:lnTo>
                      <a:pt x="606" y="2071"/>
                    </a:lnTo>
                    <a:lnTo>
                      <a:pt x="441" y="2115"/>
                    </a:lnTo>
                    <a:lnTo>
                      <a:pt x="287" y="2079"/>
                    </a:lnTo>
                    <a:lnTo>
                      <a:pt x="311" y="1939"/>
                    </a:lnTo>
                    <a:lnTo>
                      <a:pt x="390" y="1827"/>
                    </a:lnTo>
                    <a:lnTo>
                      <a:pt x="236" y="1640"/>
                    </a:lnTo>
                    <a:lnTo>
                      <a:pt x="181" y="1277"/>
                    </a:lnTo>
                    <a:lnTo>
                      <a:pt x="83" y="798"/>
                    </a:lnTo>
                    <a:lnTo>
                      <a:pt x="157" y="682"/>
                    </a:lnTo>
                    <a:lnTo>
                      <a:pt x="87" y="575"/>
                    </a:lnTo>
                    <a:lnTo>
                      <a:pt x="28" y="431"/>
                    </a:lnTo>
                    <a:lnTo>
                      <a:pt x="0" y="275"/>
                    </a:lnTo>
                    <a:lnTo>
                      <a:pt x="75" y="84"/>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2" name="Freeform 44">
                <a:extLst>
                  <a:ext uri="{FF2B5EF4-FFF2-40B4-BE49-F238E27FC236}">
                    <a16:creationId xmlns:a16="http://schemas.microsoft.com/office/drawing/2014/main" id="{CFA2E0AC-BD79-44CD-8388-12577BBE835E}"/>
                  </a:ext>
                </a:extLst>
              </p:cNvPr>
              <p:cNvSpPr>
                <a:spLocks/>
              </p:cNvSpPr>
              <p:nvPr/>
            </p:nvSpPr>
            <p:spPr bwMode="auto">
              <a:xfrm>
                <a:off x="3159" y="2042"/>
                <a:ext cx="142" cy="169"/>
              </a:xfrm>
              <a:custGeom>
                <a:avLst/>
                <a:gdLst/>
                <a:ahLst/>
                <a:cxnLst>
                  <a:cxn ang="0">
                    <a:pos x="108" y="0"/>
                  </a:cxn>
                  <a:cxn ang="0">
                    <a:pos x="220" y="5"/>
                  </a:cxn>
                  <a:cxn ang="0">
                    <a:pos x="546" y="135"/>
                  </a:cxn>
                  <a:cxn ang="0">
                    <a:pos x="723" y="289"/>
                  </a:cxn>
                  <a:cxn ang="0">
                    <a:pos x="950" y="513"/>
                  </a:cxn>
                  <a:cxn ang="0">
                    <a:pos x="678" y="673"/>
                  </a:cxn>
                  <a:cxn ang="0">
                    <a:pos x="521" y="881"/>
                  </a:cxn>
                  <a:cxn ang="0">
                    <a:pos x="413" y="1031"/>
                  </a:cxn>
                  <a:cxn ang="0">
                    <a:pos x="368" y="1148"/>
                  </a:cxn>
                  <a:cxn ang="0">
                    <a:pos x="237" y="1111"/>
                  </a:cxn>
                  <a:cxn ang="0">
                    <a:pos x="88" y="991"/>
                  </a:cxn>
                  <a:cxn ang="0">
                    <a:pos x="19" y="811"/>
                  </a:cxn>
                  <a:cxn ang="0">
                    <a:pos x="0" y="625"/>
                  </a:cxn>
                  <a:cxn ang="0">
                    <a:pos x="151" y="629"/>
                  </a:cxn>
                  <a:cxn ang="0">
                    <a:pos x="234" y="553"/>
                  </a:cxn>
                  <a:cxn ang="0">
                    <a:pos x="268" y="281"/>
                  </a:cxn>
                  <a:cxn ang="0">
                    <a:pos x="150" y="120"/>
                  </a:cxn>
                  <a:cxn ang="0">
                    <a:pos x="108" y="0"/>
                  </a:cxn>
                </a:cxnLst>
                <a:rect l="0" t="0" r="r" b="b"/>
                <a:pathLst>
                  <a:path w="950" h="1148">
                    <a:moveTo>
                      <a:pt x="108" y="0"/>
                    </a:moveTo>
                    <a:lnTo>
                      <a:pt x="220" y="5"/>
                    </a:lnTo>
                    <a:lnTo>
                      <a:pt x="546" y="135"/>
                    </a:lnTo>
                    <a:lnTo>
                      <a:pt x="723" y="289"/>
                    </a:lnTo>
                    <a:lnTo>
                      <a:pt x="950" y="513"/>
                    </a:lnTo>
                    <a:lnTo>
                      <a:pt x="678" y="673"/>
                    </a:lnTo>
                    <a:lnTo>
                      <a:pt x="521" y="881"/>
                    </a:lnTo>
                    <a:lnTo>
                      <a:pt x="413" y="1031"/>
                    </a:lnTo>
                    <a:lnTo>
                      <a:pt x="368" y="1148"/>
                    </a:lnTo>
                    <a:lnTo>
                      <a:pt x="237" y="1111"/>
                    </a:lnTo>
                    <a:lnTo>
                      <a:pt x="88" y="991"/>
                    </a:lnTo>
                    <a:lnTo>
                      <a:pt x="19" y="811"/>
                    </a:lnTo>
                    <a:lnTo>
                      <a:pt x="0" y="625"/>
                    </a:lnTo>
                    <a:lnTo>
                      <a:pt x="151" y="629"/>
                    </a:lnTo>
                    <a:lnTo>
                      <a:pt x="234" y="553"/>
                    </a:lnTo>
                    <a:lnTo>
                      <a:pt x="268" y="281"/>
                    </a:lnTo>
                    <a:lnTo>
                      <a:pt x="150" y="120"/>
                    </a:lnTo>
                    <a:lnTo>
                      <a:pt x="108"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3" name="Freeform 45">
                <a:extLst>
                  <a:ext uri="{FF2B5EF4-FFF2-40B4-BE49-F238E27FC236}">
                    <a16:creationId xmlns:a16="http://schemas.microsoft.com/office/drawing/2014/main" id="{480F13B8-8141-45E1-BDEF-233E09BF6AF7}"/>
                  </a:ext>
                </a:extLst>
              </p:cNvPr>
              <p:cNvSpPr>
                <a:spLocks/>
              </p:cNvSpPr>
              <p:nvPr/>
            </p:nvSpPr>
            <p:spPr bwMode="auto">
              <a:xfrm>
                <a:off x="3158" y="1976"/>
                <a:ext cx="254" cy="142"/>
              </a:xfrm>
              <a:custGeom>
                <a:avLst/>
                <a:gdLst/>
                <a:ahLst/>
                <a:cxnLst>
                  <a:cxn ang="0">
                    <a:pos x="1359" y="56"/>
                  </a:cxn>
                  <a:cxn ang="0">
                    <a:pos x="1225" y="24"/>
                  </a:cxn>
                  <a:cxn ang="0">
                    <a:pos x="1111" y="36"/>
                  </a:cxn>
                  <a:cxn ang="0">
                    <a:pos x="1004" y="0"/>
                  </a:cxn>
                  <a:cxn ang="0">
                    <a:pos x="882" y="128"/>
                  </a:cxn>
                  <a:cxn ang="0">
                    <a:pos x="744" y="203"/>
                  </a:cxn>
                  <a:cxn ang="0">
                    <a:pos x="516" y="188"/>
                  </a:cxn>
                  <a:cxn ang="0">
                    <a:pos x="355" y="60"/>
                  </a:cxn>
                  <a:cxn ang="0">
                    <a:pos x="236" y="0"/>
                  </a:cxn>
                  <a:cxn ang="0">
                    <a:pos x="0" y="88"/>
                  </a:cxn>
                  <a:cxn ang="0">
                    <a:pos x="95" y="355"/>
                  </a:cxn>
                  <a:cxn ang="0">
                    <a:pos x="186" y="360"/>
                  </a:cxn>
                  <a:cxn ang="0">
                    <a:pos x="444" y="463"/>
                  </a:cxn>
                  <a:cxn ang="0">
                    <a:pos x="599" y="598"/>
                  </a:cxn>
                  <a:cxn ang="0">
                    <a:pos x="768" y="766"/>
                  </a:cxn>
                  <a:cxn ang="0">
                    <a:pos x="1016" y="491"/>
                  </a:cxn>
                  <a:cxn ang="0">
                    <a:pos x="1225" y="287"/>
                  </a:cxn>
                  <a:cxn ang="0">
                    <a:pos x="1359" y="56"/>
                  </a:cxn>
                </a:cxnLst>
                <a:rect l="0" t="0" r="r" b="b"/>
                <a:pathLst>
                  <a:path w="1359" h="766">
                    <a:moveTo>
                      <a:pt x="1359" y="56"/>
                    </a:moveTo>
                    <a:lnTo>
                      <a:pt x="1225" y="24"/>
                    </a:lnTo>
                    <a:lnTo>
                      <a:pt x="1111" y="36"/>
                    </a:lnTo>
                    <a:lnTo>
                      <a:pt x="1004" y="0"/>
                    </a:lnTo>
                    <a:lnTo>
                      <a:pt x="882" y="128"/>
                    </a:lnTo>
                    <a:lnTo>
                      <a:pt x="744" y="203"/>
                    </a:lnTo>
                    <a:lnTo>
                      <a:pt x="516" y="188"/>
                    </a:lnTo>
                    <a:lnTo>
                      <a:pt x="355" y="60"/>
                    </a:lnTo>
                    <a:lnTo>
                      <a:pt x="236" y="0"/>
                    </a:lnTo>
                    <a:lnTo>
                      <a:pt x="0" y="88"/>
                    </a:lnTo>
                    <a:lnTo>
                      <a:pt x="95" y="355"/>
                    </a:lnTo>
                    <a:lnTo>
                      <a:pt x="186" y="360"/>
                    </a:lnTo>
                    <a:lnTo>
                      <a:pt x="444" y="463"/>
                    </a:lnTo>
                    <a:lnTo>
                      <a:pt x="599" y="598"/>
                    </a:lnTo>
                    <a:lnTo>
                      <a:pt x="768" y="766"/>
                    </a:lnTo>
                    <a:lnTo>
                      <a:pt x="1016" y="491"/>
                    </a:lnTo>
                    <a:lnTo>
                      <a:pt x="1225" y="287"/>
                    </a:lnTo>
                    <a:lnTo>
                      <a:pt x="1359" y="5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4" name="Freeform 46">
                <a:extLst>
                  <a:ext uri="{FF2B5EF4-FFF2-40B4-BE49-F238E27FC236}">
                    <a16:creationId xmlns:a16="http://schemas.microsoft.com/office/drawing/2014/main" id="{84792BA9-711F-4E25-AA6B-0E2F44760F3E}"/>
                  </a:ext>
                </a:extLst>
              </p:cNvPr>
              <p:cNvSpPr>
                <a:spLocks/>
              </p:cNvSpPr>
              <p:nvPr/>
            </p:nvSpPr>
            <p:spPr bwMode="auto">
              <a:xfrm>
                <a:off x="2919" y="1834"/>
                <a:ext cx="522" cy="186"/>
              </a:xfrm>
              <a:custGeom>
                <a:avLst/>
                <a:gdLst/>
                <a:ahLst/>
                <a:cxnLst>
                  <a:cxn ang="0">
                    <a:pos x="1155" y="216"/>
                  </a:cxn>
                  <a:cxn ang="0">
                    <a:pos x="1212" y="267"/>
                  </a:cxn>
                  <a:cxn ang="0">
                    <a:pos x="1296" y="242"/>
                  </a:cxn>
                  <a:cxn ang="0">
                    <a:pos x="1369" y="326"/>
                  </a:cxn>
                  <a:cxn ang="0">
                    <a:pos x="1495" y="255"/>
                  </a:cxn>
                  <a:cxn ang="0">
                    <a:pos x="1602" y="148"/>
                  </a:cxn>
                  <a:cxn ang="0">
                    <a:pos x="1736" y="52"/>
                  </a:cxn>
                  <a:cxn ang="0">
                    <a:pos x="1771" y="160"/>
                  </a:cxn>
                  <a:cxn ang="0">
                    <a:pos x="1783" y="347"/>
                  </a:cxn>
                  <a:cxn ang="0">
                    <a:pos x="1810" y="495"/>
                  </a:cxn>
                  <a:cxn ang="0">
                    <a:pos x="1944" y="479"/>
                  </a:cxn>
                  <a:cxn ang="0">
                    <a:pos x="2055" y="339"/>
                  </a:cxn>
                  <a:cxn ang="0">
                    <a:pos x="2267" y="323"/>
                  </a:cxn>
                  <a:cxn ang="0">
                    <a:pos x="2417" y="251"/>
                  </a:cxn>
                  <a:cxn ang="0">
                    <a:pos x="2523" y="136"/>
                  </a:cxn>
                  <a:cxn ang="0">
                    <a:pos x="2665" y="12"/>
                  </a:cxn>
                  <a:cxn ang="0">
                    <a:pos x="2783" y="0"/>
                  </a:cxn>
                  <a:cxn ang="0">
                    <a:pos x="2787" y="275"/>
                  </a:cxn>
                  <a:cxn ang="0">
                    <a:pos x="2775" y="483"/>
                  </a:cxn>
                  <a:cxn ang="0">
                    <a:pos x="2704" y="658"/>
                  </a:cxn>
                  <a:cxn ang="0">
                    <a:pos x="2634" y="827"/>
                  </a:cxn>
                  <a:cxn ang="0">
                    <a:pos x="2503" y="795"/>
                  </a:cxn>
                  <a:cxn ang="0">
                    <a:pos x="2385" y="806"/>
                  </a:cxn>
                  <a:cxn ang="0">
                    <a:pos x="2278" y="771"/>
                  </a:cxn>
                  <a:cxn ang="0">
                    <a:pos x="2160" y="897"/>
                  </a:cxn>
                  <a:cxn ang="0">
                    <a:pos x="2022" y="972"/>
                  </a:cxn>
                  <a:cxn ang="0">
                    <a:pos x="1791" y="959"/>
                  </a:cxn>
                  <a:cxn ang="0">
                    <a:pos x="1633" y="833"/>
                  </a:cxn>
                  <a:cxn ang="0">
                    <a:pos x="1513" y="771"/>
                  </a:cxn>
                  <a:cxn ang="0">
                    <a:pos x="1275" y="857"/>
                  </a:cxn>
                  <a:cxn ang="0">
                    <a:pos x="1168" y="863"/>
                  </a:cxn>
                  <a:cxn ang="0">
                    <a:pos x="1074" y="804"/>
                  </a:cxn>
                  <a:cxn ang="0">
                    <a:pos x="810" y="623"/>
                  </a:cxn>
                  <a:cxn ang="0">
                    <a:pos x="637" y="734"/>
                  </a:cxn>
                  <a:cxn ang="0">
                    <a:pos x="590" y="841"/>
                  </a:cxn>
                  <a:cxn ang="0">
                    <a:pos x="447" y="863"/>
                  </a:cxn>
                  <a:cxn ang="0">
                    <a:pos x="402" y="968"/>
                  </a:cxn>
                  <a:cxn ang="0">
                    <a:pos x="267" y="1009"/>
                  </a:cxn>
                  <a:cxn ang="0">
                    <a:pos x="258" y="927"/>
                  </a:cxn>
                  <a:cxn ang="0">
                    <a:pos x="184" y="849"/>
                  </a:cxn>
                  <a:cxn ang="0">
                    <a:pos x="184" y="744"/>
                  </a:cxn>
                  <a:cxn ang="0">
                    <a:pos x="0" y="671"/>
                  </a:cxn>
                  <a:cxn ang="0">
                    <a:pos x="153" y="530"/>
                  </a:cxn>
                  <a:cxn ang="0">
                    <a:pos x="279" y="471"/>
                  </a:cxn>
                  <a:cxn ang="0">
                    <a:pos x="350" y="395"/>
                  </a:cxn>
                  <a:cxn ang="0">
                    <a:pos x="294" y="231"/>
                  </a:cxn>
                  <a:cxn ang="0">
                    <a:pos x="330" y="84"/>
                  </a:cxn>
                  <a:cxn ang="0">
                    <a:pos x="483" y="120"/>
                  </a:cxn>
                  <a:cxn ang="0">
                    <a:pos x="651" y="75"/>
                  </a:cxn>
                  <a:cxn ang="0">
                    <a:pos x="769" y="95"/>
                  </a:cxn>
                  <a:cxn ang="0">
                    <a:pos x="1011" y="323"/>
                  </a:cxn>
                  <a:cxn ang="0">
                    <a:pos x="1060" y="240"/>
                  </a:cxn>
                  <a:cxn ang="0">
                    <a:pos x="1155" y="216"/>
                  </a:cxn>
                </a:cxnLst>
                <a:rect l="0" t="0" r="r" b="b"/>
                <a:pathLst>
                  <a:path w="2787" h="1009">
                    <a:moveTo>
                      <a:pt x="1155" y="216"/>
                    </a:moveTo>
                    <a:lnTo>
                      <a:pt x="1212" y="267"/>
                    </a:lnTo>
                    <a:lnTo>
                      <a:pt x="1296" y="242"/>
                    </a:lnTo>
                    <a:lnTo>
                      <a:pt x="1369" y="326"/>
                    </a:lnTo>
                    <a:lnTo>
                      <a:pt x="1495" y="255"/>
                    </a:lnTo>
                    <a:lnTo>
                      <a:pt x="1602" y="148"/>
                    </a:lnTo>
                    <a:lnTo>
                      <a:pt x="1736" y="52"/>
                    </a:lnTo>
                    <a:lnTo>
                      <a:pt x="1771" y="160"/>
                    </a:lnTo>
                    <a:lnTo>
                      <a:pt x="1783" y="347"/>
                    </a:lnTo>
                    <a:lnTo>
                      <a:pt x="1810" y="495"/>
                    </a:lnTo>
                    <a:lnTo>
                      <a:pt x="1944" y="479"/>
                    </a:lnTo>
                    <a:lnTo>
                      <a:pt x="2055" y="339"/>
                    </a:lnTo>
                    <a:lnTo>
                      <a:pt x="2267" y="323"/>
                    </a:lnTo>
                    <a:lnTo>
                      <a:pt x="2417" y="251"/>
                    </a:lnTo>
                    <a:lnTo>
                      <a:pt x="2523" y="136"/>
                    </a:lnTo>
                    <a:lnTo>
                      <a:pt x="2665" y="12"/>
                    </a:lnTo>
                    <a:lnTo>
                      <a:pt x="2783" y="0"/>
                    </a:lnTo>
                    <a:lnTo>
                      <a:pt x="2787" y="275"/>
                    </a:lnTo>
                    <a:lnTo>
                      <a:pt x="2775" y="483"/>
                    </a:lnTo>
                    <a:lnTo>
                      <a:pt x="2704" y="658"/>
                    </a:lnTo>
                    <a:lnTo>
                      <a:pt x="2634" y="827"/>
                    </a:lnTo>
                    <a:lnTo>
                      <a:pt x="2503" y="795"/>
                    </a:lnTo>
                    <a:lnTo>
                      <a:pt x="2385" y="806"/>
                    </a:lnTo>
                    <a:lnTo>
                      <a:pt x="2278" y="771"/>
                    </a:lnTo>
                    <a:lnTo>
                      <a:pt x="2160" y="897"/>
                    </a:lnTo>
                    <a:lnTo>
                      <a:pt x="2022" y="972"/>
                    </a:lnTo>
                    <a:lnTo>
                      <a:pt x="1791" y="959"/>
                    </a:lnTo>
                    <a:lnTo>
                      <a:pt x="1633" y="833"/>
                    </a:lnTo>
                    <a:lnTo>
                      <a:pt x="1513" y="771"/>
                    </a:lnTo>
                    <a:lnTo>
                      <a:pt x="1275" y="857"/>
                    </a:lnTo>
                    <a:lnTo>
                      <a:pt x="1168" y="863"/>
                    </a:lnTo>
                    <a:lnTo>
                      <a:pt x="1074" y="804"/>
                    </a:lnTo>
                    <a:lnTo>
                      <a:pt x="810" y="623"/>
                    </a:lnTo>
                    <a:lnTo>
                      <a:pt x="637" y="734"/>
                    </a:lnTo>
                    <a:lnTo>
                      <a:pt x="590" y="841"/>
                    </a:lnTo>
                    <a:lnTo>
                      <a:pt x="447" y="863"/>
                    </a:lnTo>
                    <a:lnTo>
                      <a:pt x="402" y="968"/>
                    </a:lnTo>
                    <a:lnTo>
                      <a:pt x="267" y="1009"/>
                    </a:lnTo>
                    <a:lnTo>
                      <a:pt x="258" y="927"/>
                    </a:lnTo>
                    <a:lnTo>
                      <a:pt x="184" y="849"/>
                    </a:lnTo>
                    <a:lnTo>
                      <a:pt x="184" y="744"/>
                    </a:lnTo>
                    <a:lnTo>
                      <a:pt x="0" y="671"/>
                    </a:lnTo>
                    <a:lnTo>
                      <a:pt x="153" y="530"/>
                    </a:lnTo>
                    <a:lnTo>
                      <a:pt x="279" y="471"/>
                    </a:lnTo>
                    <a:lnTo>
                      <a:pt x="350" y="395"/>
                    </a:lnTo>
                    <a:lnTo>
                      <a:pt x="294" y="231"/>
                    </a:lnTo>
                    <a:lnTo>
                      <a:pt x="330" y="84"/>
                    </a:lnTo>
                    <a:lnTo>
                      <a:pt x="483" y="120"/>
                    </a:lnTo>
                    <a:lnTo>
                      <a:pt x="651" y="75"/>
                    </a:lnTo>
                    <a:lnTo>
                      <a:pt x="769" y="95"/>
                    </a:lnTo>
                    <a:lnTo>
                      <a:pt x="1011" y="323"/>
                    </a:lnTo>
                    <a:lnTo>
                      <a:pt x="1060" y="240"/>
                    </a:lnTo>
                    <a:lnTo>
                      <a:pt x="1155" y="21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5" name="Freeform 47">
                <a:extLst>
                  <a:ext uri="{FF2B5EF4-FFF2-40B4-BE49-F238E27FC236}">
                    <a16:creationId xmlns:a16="http://schemas.microsoft.com/office/drawing/2014/main" id="{D2FA1A02-C5A1-4B93-9FAC-D5C5BC0B54BB}"/>
                  </a:ext>
                </a:extLst>
              </p:cNvPr>
              <p:cNvSpPr>
                <a:spLocks/>
              </p:cNvSpPr>
              <p:nvPr/>
            </p:nvSpPr>
            <p:spPr bwMode="auto">
              <a:xfrm>
                <a:off x="3129" y="1741"/>
                <a:ext cx="311" cy="184"/>
              </a:xfrm>
              <a:custGeom>
                <a:avLst/>
                <a:gdLst/>
                <a:ahLst/>
                <a:cxnLst>
                  <a:cxn ang="0">
                    <a:pos x="116" y="184"/>
                  </a:cxn>
                  <a:cxn ang="0">
                    <a:pos x="319" y="229"/>
                  </a:cxn>
                  <a:cxn ang="0">
                    <a:pos x="599" y="64"/>
                  </a:cxn>
                  <a:cxn ang="0">
                    <a:pos x="753" y="1"/>
                  </a:cxn>
                  <a:cxn ang="0">
                    <a:pos x="824" y="0"/>
                  </a:cxn>
                  <a:cxn ang="0">
                    <a:pos x="858" y="124"/>
                  </a:cxn>
                  <a:cxn ang="0">
                    <a:pos x="645" y="332"/>
                  </a:cxn>
                  <a:cxn ang="0">
                    <a:pos x="850" y="392"/>
                  </a:cxn>
                  <a:cxn ang="0">
                    <a:pos x="998" y="388"/>
                  </a:cxn>
                  <a:cxn ang="0">
                    <a:pos x="1177" y="512"/>
                  </a:cxn>
                  <a:cxn ang="0">
                    <a:pos x="1239" y="388"/>
                  </a:cxn>
                  <a:cxn ang="0">
                    <a:pos x="1181" y="184"/>
                  </a:cxn>
                  <a:cxn ang="0">
                    <a:pos x="1271" y="120"/>
                  </a:cxn>
                  <a:cxn ang="0">
                    <a:pos x="1477" y="229"/>
                  </a:cxn>
                  <a:cxn ang="0">
                    <a:pos x="1717" y="237"/>
                  </a:cxn>
                  <a:cxn ang="0">
                    <a:pos x="2052" y="282"/>
                  </a:cxn>
                  <a:cxn ang="0">
                    <a:pos x="2046" y="468"/>
                  </a:cxn>
                  <a:cxn ang="0">
                    <a:pos x="2076" y="629"/>
                  </a:cxn>
                  <a:cxn ang="0">
                    <a:pos x="1927" y="644"/>
                  </a:cxn>
                  <a:cxn ang="0">
                    <a:pos x="1751" y="799"/>
                  </a:cxn>
                  <a:cxn ang="0">
                    <a:pos x="1624" y="937"/>
                  </a:cxn>
                  <a:cxn ang="0">
                    <a:pos x="1436" y="1030"/>
                  </a:cxn>
                  <a:cxn ang="0">
                    <a:pos x="1166" y="1053"/>
                  </a:cxn>
                  <a:cxn ang="0">
                    <a:pos x="1028" y="1229"/>
                  </a:cxn>
                  <a:cxn ang="0">
                    <a:pos x="858" y="1247"/>
                  </a:cxn>
                  <a:cxn ang="0">
                    <a:pos x="825" y="1064"/>
                  </a:cxn>
                  <a:cxn ang="0">
                    <a:pos x="810" y="829"/>
                  </a:cxn>
                  <a:cxn ang="0">
                    <a:pos x="767" y="694"/>
                  </a:cxn>
                  <a:cxn ang="0">
                    <a:pos x="588" y="824"/>
                  </a:cxn>
                  <a:cxn ang="0">
                    <a:pos x="465" y="950"/>
                  </a:cxn>
                  <a:cxn ang="0">
                    <a:pos x="306" y="1038"/>
                  </a:cxn>
                  <a:cxn ang="0">
                    <a:pos x="215" y="934"/>
                  </a:cxn>
                  <a:cxn ang="0">
                    <a:pos x="111" y="962"/>
                  </a:cxn>
                  <a:cxn ang="0">
                    <a:pos x="43" y="899"/>
                  </a:cxn>
                  <a:cxn ang="0">
                    <a:pos x="58" y="689"/>
                  </a:cxn>
                  <a:cxn ang="0">
                    <a:pos x="0" y="470"/>
                  </a:cxn>
                  <a:cxn ang="0">
                    <a:pos x="83" y="388"/>
                  </a:cxn>
                  <a:cxn ang="0">
                    <a:pos x="116" y="184"/>
                  </a:cxn>
                </a:cxnLst>
                <a:rect l="0" t="0" r="r" b="b"/>
                <a:pathLst>
                  <a:path w="2076" h="1247">
                    <a:moveTo>
                      <a:pt x="116" y="184"/>
                    </a:moveTo>
                    <a:lnTo>
                      <a:pt x="319" y="229"/>
                    </a:lnTo>
                    <a:lnTo>
                      <a:pt x="599" y="64"/>
                    </a:lnTo>
                    <a:lnTo>
                      <a:pt x="753" y="1"/>
                    </a:lnTo>
                    <a:lnTo>
                      <a:pt x="824" y="0"/>
                    </a:lnTo>
                    <a:lnTo>
                      <a:pt x="858" y="124"/>
                    </a:lnTo>
                    <a:lnTo>
                      <a:pt x="645" y="332"/>
                    </a:lnTo>
                    <a:lnTo>
                      <a:pt x="850" y="392"/>
                    </a:lnTo>
                    <a:lnTo>
                      <a:pt x="998" y="388"/>
                    </a:lnTo>
                    <a:lnTo>
                      <a:pt x="1177" y="512"/>
                    </a:lnTo>
                    <a:lnTo>
                      <a:pt x="1239" y="388"/>
                    </a:lnTo>
                    <a:lnTo>
                      <a:pt x="1181" y="184"/>
                    </a:lnTo>
                    <a:lnTo>
                      <a:pt x="1271" y="120"/>
                    </a:lnTo>
                    <a:lnTo>
                      <a:pt x="1477" y="229"/>
                    </a:lnTo>
                    <a:lnTo>
                      <a:pt x="1717" y="237"/>
                    </a:lnTo>
                    <a:lnTo>
                      <a:pt x="2052" y="282"/>
                    </a:lnTo>
                    <a:lnTo>
                      <a:pt x="2046" y="468"/>
                    </a:lnTo>
                    <a:lnTo>
                      <a:pt x="2076" y="629"/>
                    </a:lnTo>
                    <a:lnTo>
                      <a:pt x="1927" y="644"/>
                    </a:lnTo>
                    <a:lnTo>
                      <a:pt x="1751" y="799"/>
                    </a:lnTo>
                    <a:lnTo>
                      <a:pt x="1624" y="937"/>
                    </a:lnTo>
                    <a:lnTo>
                      <a:pt x="1436" y="1030"/>
                    </a:lnTo>
                    <a:lnTo>
                      <a:pt x="1166" y="1053"/>
                    </a:lnTo>
                    <a:lnTo>
                      <a:pt x="1028" y="1229"/>
                    </a:lnTo>
                    <a:lnTo>
                      <a:pt x="858" y="1247"/>
                    </a:lnTo>
                    <a:lnTo>
                      <a:pt x="825" y="1064"/>
                    </a:lnTo>
                    <a:lnTo>
                      <a:pt x="810" y="829"/>
                    </a:lnTo>
                    <a:lnTo>
                      <a:pt x="767" y="694"/>
                    </a:lnTo>
                    <a:lnTo>
                      <a:pt x="588" y="824"/>
                    </a:lnTo>
                    <a:lnTo>
                      <a:pt x="465" y="950"/>
                    </a:lnTo>
                    <a:lnTo>
                      <a:pt x="306" y="1038"/>
                    </a:lnTo>
                    <a:lnTo>
                      <a:pt x="215" y="934"/>
                    </a:lnTo>
                    <a:lnTo>
                      <a:pt x="111" y="962"/>
                    </a:lnTo>
                    <a:lnTo>
                      <a:pt x="43" y="899"/>
                    </a:lnTo>
                    <a:lnTo>
                      <a:pt x="58" y="689"/>
                    </a:lnTo>
                    <a:lnTo>
                      <a:pt x="0" y="470"/>
                    </a:lnTo>
                    <a:lnTo>
                      <a:pt x="83" y="388"/>
                    </a:lnTo>
                    <a:lnTo>
                      <a:pt x="116" y="184"/>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6" name="Freeform 48">
                <a:extLst>
                  <a:ext uri="{FF2B5EF4-FFF2-40B4-BE49-F238E27FC236}">
                    <a16:creationId xmlns:a16="http://schemas.microsoft.com/office/drawing/2014/main" id="{9C5034DC-69DC-45B2-8400-30E5E96432E3}"/>
                  </a:ext>
                </a:extLst>
              </p:cNvPr>
              <p:cNvSpPr>
                <a:spLocks/>
              </p:cNvSpPr>
              <p:nvPr/>
            </p:nvSpPr>
            <p:spPr bwMode="auto">
              <a:xfrm>
                <a:off x="3147" y="1642"/>
                <a:ext cx="289" cy="175"/>
              </a:xfrm>
              <a:custGeom>
                <a:avLst/>
                <a:gdLst/>
                <a:ahLst/>
                <a:cxnLst>
                  <a:cxn ang="0">
                    <a:pos x="1742" y="233"/>
                  </a:cxn>
                  <a:cxn ang="0">
                    <a:pos x="1579" y="143"/>
                  </a:cxn>
                  <a:cxn ang="0">
                    <a:pos x="1329" y="173"/>
                  </a:cxn>
                  <a:cxn ang="0">
                    <a:pos x="1092" y="143"/>
                  </a:cxn>
                  <a:cxn ang="0">
                    <a:pos x="940" y="53"/>
                  </a:cxn>
                  <a:cxn ang="0">
                    <a:pos x="778" y="0"/>
                  </a:cxn>
                  <a:cxn ang="0">
                    <a:pos x="697" y="43"/>
                  </a:cxn>
                  <a:cxn ang="0">
                    <a:pos x="555" y="29"/>
                  </a:cxn>
                  <a:cxn ang="0">
                    <a:pos x="439" y="203"/>
                  </a:cxn>
                  <a:cxn ang="0">
                    <a:pos x="306" y="414"/>
                  </a:cxn>
                  <a:cxn ang="0">
                    <a:pos x="150" y="666"/>
                  </a:cxn>
                  <a:cxn ang="0">
                    <a:pos x="30" y="687"/>
                  </a:cxn>
                  <a:cxn ang="0">
                    <a:pos x="0" y="853"/>
                  </a:cxn>
                  <a:cxn ang="0">
                    <a:pos x="201" y="897"/>
                  </a:cxn>
                  <a:cxn ang="0">
                    <a:pos x="487" y="732"/>
                  </a:cxn>
                  <a:cxn ang="0">
                    <a:pos x="630" y="672"/>
                  </a:cxn>
                  <a:cxn ang="0">
                    <a:pos x="708" y="667"/>
                  </a:cxn>
                  <a:cxn ang="0">
                    <a:pos x="738" y="793"/>
                  </a:cxn>
                  <a:cxn ang="0">
                    <a:pos x="526" y="1002"/>
                  </a:cxn>
                  <a:cxn ang="0">
                    <a:pos x="738" y="1062"/>
                  </a:cxn>
                  <a:cxn ang="0">
                    <a:pos x="881" y="1057"/>
                  </a:cxn>
                  <a:cxn ang="0">
                    <a:pos x="1058" y="1182"/>
                  </a:cxn>
                  <a:cxn ang="0">
                    <a:pos x="1122" y="1057"/>
                  </a:cxn>
                  <a:cxn ang="0">
                    <a:pos x="1063" y="853"/>
                  </a:cxn>
                  <a:cxn ang="0">
                    <a:pos x="1152" y="788"/>
                  </a:cxn>
                  <a:cxn ang="0">
                    <a:pos x="1358" y="897"/>
                  </a:cxn>
                  <a:cxn ang="0">
                    <a:pos x="1609" y="907"/>
                  </a:cxn>
                  <a:cxn ang="0">
                    <a:pos x="1934" y="952"/>
                  </a:cxn>
                  <a:cxn ang="0">
                    <a:pos x="1919" y="823"/>
                  </a:cxn>
                  <a:cxn ang="0">
                    <a:pos x="1870" y="682"/>
                  </a:cxn>
                  <a:cxn ang="0">
                    <a:pos x="1815" y="442"/>
                  </a:cxn>
                  <a:cxn ang="0">
                    <a:pos x="1742" y="233"/>
                  </a:cxn>
                </a:cxnLst>
                <a:rect l="0" t="0" r="r" b="b"/>
                <a:pathLst>
                  <a:path w="1934" h="1182">
                    <a:moveTo>
                      <a:pt x="1742" y="233"/>
                    </a:moveTo>
                    <a:lnTo>
                      <a:pt x="1579" y="143"/>
                    </a:lnTo>
                    <a:lnTo>
                      <a:pt x="1329" y="173"/>
                    </a:lnTo>
                    <a:lnTo>
                      <a:pt x="1092" y="143"/>
                    </a:lnTo>
                    <a:lnTo>
                      <a:pt x="940" y="53"/>
                    </a:lnTo>
                    <a:lnTo>
                      <a:pt x="778" y="0"/>
                    </a:lnTo>
                    <a:lnTo>
                      <a:pt x="697" y="43"/>
                    </a:lnTo>
                    <a:lnTo>
                      <a:pt x="555" y="29"/>
                    </a:lnTo>
                    <a:lnTo>
                      <a:pt x="439" y="203"/>
                    </a:lnTo>
                    <a:lnTo>
                      <a:pt x="306" y="414"/>
                    </a:lnTo>
                    <a:lnTo>
                      <a:pt x="150" y="666"/>
                    </a:lnTo>
                    <a:lnTo>
                      <a:pt x="30" y="687"/>
                    </a:lnTo>
                    <a:lnTo>
                      <a:pt x="0" y="853"/>
                    </a:lnTo>
                    <a:lnTo>
                      <a:pt x="201" y="897"/>
                    </a:lnTo>
                    <a:lnTo>
                      <a:pt x="487" y="732"/>
                    </a:lnTo>
                    <a:lnTo>
                      <a:pt x="630" y="672"/>
                    </a:lnTo>
                    <a:lnTo>
                      <a:pt x="708" y="667"/>
                    </a:lnTo>
                    <a:lnTo>
                      <a:pt x="738" y="793"/>
                    </a:lnTo>
                    <a:lnTo>
                      <a:pt x="526" y="1002"/>
                    </a:lnTo>
                    <a:lnTo>
                      <a:pt x="738" y="1062"/>
                    </a:lnTo>
                    <a:lnTo>
                      <a:pt x="881" y="1057"/>
                    </a:lnTo>
                    <a:lnTo>
                      <a:pt x="1058" y="1182"/>
                    </a:lnTo>
                    <a:lnTo>
                      <a:pt x="1122" y="1057"/>
                    </a:lnTo>
                    <a:lnTo>
                      <a:pt x="1063" y="853"/>
                    </a:lnTo>
                    <a:lnTo>
                      <a:pt x="1152" y="788"/>
                    </a:lnTo>
                    <a:lnTo>
                      <a:pt x="1358" y="897"/>
                    </a:lnTo>
                    <a:lnTo>
                      <a:pt x="1609" y="907"/>
                    </a:lnTo>
                    <a:lnTo>
                      <a:pt x="1934" y="952"/>
                    </a:lnTo>
                    <a:lnTo>
                      <a:pt x="1919" y="823"/>
                    </a:lnTo>
                    <a:lnTo>
                      <a:pt x="1870" y="682"/>
                    </a:lnTo>
                    <a:lnTo>
                      <a:pt x="1815" y="442"/>
                    </a:lnTo>
                    <a:lnTo>
                      <a:pt x="1742" y="233"/>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7" name="Freeform 49">
                <a:extLst>
                  <a:ext uri="{FF2B5EF4-FFF2-40B4-BE49-F238E27FC236}">
                    <a16:creationId xmlns:a16="http://schemas.microsoft.com/office/drawing/2014/main" id="{E6FB2DA9-5765-445A-8603-9FDE228CA707}"/>
                  </a:ext>
                </a:extLst>
              </p:cNvPr>
              <p:cNvSpPr>
                <a:spLocks/>
              </p:cNvSpPr>
              <p:nvPr/>
            </p:nvSpPr>
            <p:spPr bwMode="auto">
              <a:xfrm>
                <a:off x="1017" y="802"/>
                <a:ext cx="486" cy="543"/>
              </a:xfrm>
              <a:custGeom>
                <a:avLst/>
                <a:gdLst/>
                <a:ahLst/>
                <a:cxnLst>
                  <a:cxn ang="0">
                    <a:pos x="2316" y="170"/>
                  </a:cxn>
                  <a:cxn ang="0">
                    <a:pos x="2108" y="409"/>
                  </a:cxn>
                  <a:cxn ang="0">
                    <a:pos x="1784" y="524"/>
                  </a:cxn>
                  <a:cxn ang="0">
                    <a:pos x="1286" y="644"/>
                  </a:cxn>
                  <a:cxn ang="0">
                    <a:pos x="1123" y="853"/>
                  </a:cxn>
                  <a:cxn ang="0">
                    <a:pos x="739" y="679"/>
                  </a:cxn>
                  <a:cxn ang="0">
                    <a:pos x="369" y="584"/>
                  </a:cxn>
                  <a:cxn ang="0">
                    <a:pos x="5" y="499"/>
                  </a:cxn>
                  <a:cxn ang="0">
                    <a:pos x="104" y="763"/>
                  </a:cxn>
                  <a:cxn ang="0">
                    <a:pos x="325" y="978"/>
                  </a:cxn>
                  <a:cxn ang="0">
                    <a:pos x="409" y="1332"/>
                  </a:cxn>
                  <a:cxn ang="0">
                    <a:pos x="542" y="1592"/>
                  </a:cxn>
                  <a:cxn ang="0">
                    <a:pos x="779" y="1700"/>
                  </a:cxn>
                  <a:cxn ang="0">
                    <a:pos x="1123" y="1861"/>
                  </a:cxn>
                  <a:cxn ang="0">
                    <a:pos x="1222" y="2219"/>
                  </a:cxn>
                  <a:cxn ang="0">
                    <a:pos x="1227" y="2948"/>
                  </a:cxn>
                  <a:cxn ang="0">
                    <a:pos x="1360" y="3247"/>
                  </a:cxn>
                  <a:cxn ang="0">
                    <a:pos x="1493" y="3506"/>
                  </a:cxn>
                  <a:cxn ang="0">
                    <a:pos x="1739" y="3681"/>
                  </a:cxn>
                  <a:cxn ang="0">
                    <a:pos x="1922" y="3187"/>
                  </a:cxn>
                  <a:cxn ang="0">
                    <a:pos x="2261" y="3357"/>
                  </a:cxn>
                  <a:cxn ang="0">
                    <a:pos x="2448" y="3247"/>
                  </a:cxn>
                  <a:cxn ang="0">
                    <a:pos x="2542" y="2893"/>
                  </a:cxn>
                  <a:cxn ang="0">
                    <a:pos x="2956" y="2788"/>
                  </a:cxn>
                  <a:cxn ang="0">
                    <a:pos x="3176" y="2333"/>
                  </a:cxn>
                  <a:cxn ang="0">
                    <a:pos x="3069" y="2139"/>
                  </a:cxn>
                  <a:cxn ang="0">
                    <a:pos x="2779" y="1665"/>
                  </a:cxn>
                  <a:cxn ang="0">
                    <a:pos x="2631" y="1382"/>
                  </a:cxn>
                  <a:cxn ang="0">
                    <a:pos x="2892" y="748"/>
                  </a:cxn>
                  <a:cxn ang="0">
                    <a:pos x="2809" y="494"/>
                  </a:cxn>
                  <a:cxn ang="0">
                    <a:pos x="2641" y="155"/>
                  </a:cxn>
                  <a:cxn ang="0">
                    <a:pos x="2405" y="35"/>
                  </a:cxn>
                </a:cxnLst>
                <a:rect l="0" t="0" r="r" b="b"/>
                <a:pathLst>
                  <a:path w="3244" h="3681">
                    <a:moveTo>
                      <a:pt x="2227" y="35"/>
                    </a:moveTo>
                    <a:lnTo>
                      <a:pt x="2316" y="170"/>
                    </a:lnTo>
                    <a:lnTo>
                      <a:pt x="2168" y="284"/>
                    </a:lnTo>
                    <a:lnTo>
                      <a:pt x="2108" y="409"/>
                    </a:lnTo>
                    <a:lnTo>
                      <a:pt x="1902" y="404"/>
                    </a:lnTo>
                    <a:lnTo>
                      <a:pt x="1784" y="524"/>
                    </a:lnTo>
                    <a:lnTo>
                      <a:pt x="1546" y="614"/>
                    </a:lnTo>
                    <a:lnTo>
                      <a:pt x="1286" y="644"/>
                    </a:lnTo>
                    <a:lnTo>
                      <a:pt x="1093" y="703"/>
                    </a:lnTo>
                    <a:lnTo>
                      <a:pt x="1123" y="853"/>
                    </a:lnTo>
                    <a:lnTo>
                      <a:pt x="1020" y="918"/>
                    </a:lnTo>
                    <a:lnTo>
                      <a:pt x="739" y="679"/>
                    </a:lnTo>
                    <a:lnTo>
                      <a:pt x="473" y="733"/>
                    </a:lnTo>
                    <a:lnTo>
                      <a:pt x="369" y="584"/>
                    </a:lnTo>
                    <a:lnTo>
                      <a:pt x="143" y="614"/>
                    </a:lnTo>
                    <a:lnTo>
                      <a:pt x="5" y="499"/>
                    </a:lnTo>
                    <a:lnTo>
                      <a:pt x="0" y="614"/>
                    </a:lnTo>
                    <a:lnTo>
                      <a:pt x="104" y="763"/>
                    </a:lnTo>
                    <a:lnTo>
                      <a:pt x="266" y="808"/>
                    </a:lnTo>
                    <a:lnTo>
                      <a:pt x="325" y="978"/>
                    </a:lnTo>
                    <a:lnTo>
                      <a:pt x="290" y="1157"/>
                    </a:lnTo>
                    <a:lnTo>
                      <a:pt x="409" y="1332"/>
                    </a:lnTo>
                    <a:lnTo>
                      <a:pt x="424" y="1517"/>
                    </a:lnTo>
                    <a:lnTo>
                      <a:pt x="542" y="1592"/>
                    </a:lnTo>
                    <a:lnTo>
                      <a:pt x="768" y="1562"/>
                    </a:lnTo>
                    <a:lnTo>
                      <a:pt x="779" y="1700"/>
                    </a:lnTo>
                    <a:lnTo>
                      <a:pt x="916" y="1780"/>
                    </a:lnTo>
                    <a:lnTo>
                      <a:pt x="1123" y="1861"/>
                    </a:lnTo>
                    <a:lnTo>
                      <a:pt x="1103" y="2021"/>
                    </a:lnTo>
                    <a:lnTo>
                      <a:pt x="1222" y="2219"/>
                    </a:lnTo>
                    <a:lnTo>
                      <a:pt x="1271" y="2424"/>
                    </a:lnTo>
                    <a:lnTo>
                      <a:pt x="1227" y="2948"/>
                    </a:lnTo>
                    <a:lnTo>
                      <a:pt x="1345" y="3117"/>
                    </a:lnTo>
                    <a:lnTo>
                      <a:pt x="1360" y="3247"/>
                    </a:lnTo>
                    <a:lnTo>
                      <a:pt x="1271" y="3372"/>
                    </a:lnTo>
                    <a:lnTo>
                      <a:pt x="1493" y="3506"/>
                    </a:lnTo>
                    <a:lnTo>
                      <a:pt x="1591" y="3671"/>
                    </a:lnTo>
                    <a:lnTo>
                      <a:pt x="1739" y="3681"/>
                    </a:lnTo>
                    <a:lnTo>
                      <a:pt x="1769" y="3367"/>
                    </a:lnTo>
                    <a:lnTo>
                      <a:pt x="1922" y="3187"/>
                    </a:lnTo>
                    <a:lnTo>
                      <a:pt x="2079" y="3192"/>
                    </a:lnTo>
                    <a:lnTo>
                      <a:pt x="2261" y="3357"/>
                    </a:lnTo>
                    <a:lnTo>
                      <a:pt x="2380" y="3367"/>
                    </a:lnTo>
                    <a:lnTo>
                      <a:pt x="2448" y="3247"/>
                    </a:lnTo>
                    <a:lnTo>
                      <a:pt x="2463" y="3072"/>
                    </a:lnTo>
                    <a:lnTo>
                      <a:pt x="2542" y="2893"/>
                    </a:lnTo>
                    <a:lnTo>
                      <a:pt x="2685" y="2773"/>
                    </a:lnTo>
                    <a:lnTo>
                      <a:pt x="2956" y="2788"/>
                    </a:lnTo>
                    <a:lnTo>
                      <a:pt x="3244" y="2766"/>
                    </a:lnTo>
                    <a:lnTo>
                      <a:pt x="3176" y="2333"/>
                    </a:lnTo>
                    <a:lnTo>
                      <a:pt x="3216" y="2217"/>
                    </a:lnTo>
                    <a:lnTo>
                      <a:pt x="3069" y="2139"/>
                    </a:lnTo>
                    <a:lnTo>
                      <a:pt x="2809" y="1906"/>
                    </a:lnTo>
                    <a:lnTo>
                      <a:pt x="2779" y="1665"/>
                    </a:lnTo>
                    <a:lnTo>
                      <a:pt x="2685" y="1557"/>
                    </a:lnTo>
                    <a:lnTo>
                      <a:pt x="2631" y="1382"/>
                    </a:lnTo>
                    <a:lnTo>
                      <a:pt x="2700" y="1003"/>
                    </a:lnTo>
                    <a:lnTo>
                      <a:pt x="2892" y="748"/>
                    </a:lnTo>
                    <a:lnTo>
                      <a:pt x="2804" y="614"/>
                    </a:lnTo>
                    <a:lnTo>
                      <a:pt x="2809" y="494"/>
                    </a:lnTo>
                    <a:lnTo>
                      <a:pt x="2567" y="409"/>
                    </a:lnTo>
                    <a:lnTo>
                      <a:pt x="2641" y="155"/>
                    </a:lnTo>
                    <a:lnTo>
                      <a:pt x="2552" y="0"/>
                    </a:lnTo>
                    <a:lnTo>
                      <a:pt x="2405" y="35"/>
                    </a:lnTo>
                    <a:lnTo>
                      <a:pt x="2227" y="35"/>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grpSp>
        <p:grpSp>
          <p:nvGrpSpPr>
            <p:cNvPr id="9" name="组合 52">
              <a:extLst>
                <a:ext uri="{FF2B5EF4-FFF2-40B4-BE49-F238E27FC236}">
                  <a16:creationId xmlns:a16="http://schemas.microsoft.com/office/drawing/2014/main" id="{3003AECB-1130-4BEA-AD86-D9D9608D8957}"/>
                </a:ext>
              </a:extLst>
            </p:cNvPr>
            <p:cNvGrpSpPr/>
            <p:nvPr/>
          </p:nvGrpSpPr>
          <p:grpSpPr>
            <a:xfrm>
              <a:off x="6286511" y="4929198"/>
              <a:ext cx="2565797" cy="1765406"/>
              <a:chOff x="416519" y="4774171"/>
              <a:chExt cx="2565797" cy="1765406"/>
            </a:xfrm>
          </p:grpSpPr>
          <p:sp>
            <p:nvSpPr>
              <p:cNvPr id="38" name="圆角矩形 103">
                <a:extLst>
                  <a:ext uri="{FF2B5EF4-FFF2-40B4-BE49-F238E27FC236}">
                    <a16:creationId xmlns:a16="http://schemas.microsoft.com/office/drawing/2014/main" id="{8D124C4F-19C0-449E-8910-C7F329E53D90}"/>
                  </a:ext>
                </a:extLst>
              </p:cNvPr>
              <p:cNvSpPr/>
              <p:nvPr/>
            </p:nvSpPr>
            <p:spPr>
              <a:xfrm>
                <a:off x="416519" y="4964087"/>
                <a:ext cx="2501037" cy="157549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39" name="圆角矩形 45">
                <a:extLst>
                  <a:ext uri="{FF2B5EF4-FFF2-40B4-BE49-F238E27FC236}">
                    <a16:creationId xmlns:a16="http://schemas.microsoft.com/office/drawing/2014/main" id="{B6E1B856-034D-4A2C-B6DF-E93FBA8C4BB3}"/>
                  </a:ext>
                </a:extLst>
              </p:cNvPr>
              <p:cNvSpPr/>
              <p:nvPr/>
            </p:nvSpPr>
            <p:spPr>
              <a:xfrm>
                <a:off x="680339" y="4774171"/>
                <a:ext cx="1582020" cy="422783"/>
              </a:xfrm>
              <a:prstGeom prst="roundRect">
                <a:avLst>
                  <a:gd name="adj" fmla="val 50000"/>
                </a:avLst>
              </a:prstGeom>
              <a:solidFill>
                <a:schemeClr val="bg1">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45703" rIns="0" bIns="45703" anchor="ctr" anchorCtr="1"/>
              <a:lstStyle/>
              <a:p>
                <a:pPr algn="r" fontAlgn="base">
                  <a:spcBef>
                    <a:spcPct val="0"/>
                  </a:spcBef>
                  <a:spcAft>
                    <a:spcPct val="0"/>
                  </a:spcAft>
                </a:pPr>
                <a:r>
                  <a:rPr lang="en-US" altLang="zh-CN" sz="1200" b="1" kern="0" dirty="0"/>
                  <a:t>VIRA</a:t>
                </a:r>
              </a:p>
            </p:txBody>
          </p:sp>
          <p:sp>
            <p:nvSpPr>
              <p:cNvPr id="40" name="Text Box 16">
                <a:extLst>
                  <a:ext uri="{FF2B5EF4-FFF2-40B4-BE49-F238E27FC236}">
                    <a16:creationId xmlns:a16="http://schemas.microsoft.com/office/drawing/2014/main" id="{070BC2CB-C672-4EE6-878C-9F6403FEFAFF}"/>
                  </a:ext>
                </a:extLst>
              </p:cNvPr>
              <p:cNvSpPr txBox="1">
                <a:spLocks noChangeArrowheads="1"/>
              </p:cNvSpPr>
              <p:nvPr/>
            </p:nvSpPr>
            <p:spPr bwMode="auto">
              <a:xfrm>
                <a:off x="481278" y="5228283"/>
                <a:ext cx="2501038" cy="1278866"/>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err="1">
                    <a:latin typeface="Calibri" pitchFamily="34" charset="0"/>
                    <a:cs typeface="Calibri" pitchFamily="34" charset="0"/>
                  </a:rPr>
                  <a:t>Transferir</a:t>
                </a:r>
                <a:r>
                  <a:rPr lang="en-US" altLang="zh-CN" sz="1200" dirty="0">
                    <a:latin typeface="Calibri" pitchFamily="34" charset="0"/>
                    <a:cs typeface="Calibri" pitchFamily="34" charset="0"/>
                  </a:rPr>
                  <a:t> </a:t>
                </a:r>
                <a:r>
                  <a:rPr lang="en-US" altLang="zh-CN" sz="1200" dirty="0" err="1">
                    <a:latin typeface="Calibri" pitchFamily="34" charset="0"/>
                    <a:cs typeface="Calibri" pitchFamily="34" charset="0"/>
                  </a:rPr>
                  <a:t>estoque</a:t>
                </a:r>
                <a:r>
                  <a:rPr lang="en-US" altLang="zh-CN" sz="1200" dirty="0">
                    <a:latin typeface="Calibri" pitchFamily="34" charset="0"/>
                    <a:cs typeface="Calibri" pitchFamily="34" charset="0"/>
                  </a:rPr>
                  <a:t> da Planta de São José dos Campos para CD de </a:t>
                </a:r>
                <a:r>
                  <a:rPr lang="en-US" altLang="zh-CN" sz="1200" dirty="0" err="1">
                    <a:latin typeface="Calibri" pitchFamily="34" charset="0"/>
                    <a:cs typeface="Calibri" pitchFamily="34" charset="0"/>
                  </a:rPr>
                  <a:t>Guararema</a:t>
                </a:r>
                <a:endParaRPr lang="en-US" altLang="zh-CN" sz="1200" dirty="0">
                  <a:latin typeface="Calibri" pitchFamily="34" charset="0"/>
                  <a:cs typeface="Calibri" pitchFamily="34" charset="0"/>
                </a:endParaRPr>
              </a:p>
            </p:txBody>
          </p:sp>
        </p:grpSp>
        <p:grpSp>
          <p:nvGrpSpPr>
            <p:cNvPr id="10" name="组合 53">
              <a:extLst>
                <a:ext uri="{FF2B5EF4-FFF2-40B4-BE49-F238E27FC236}">
                  <a16:creationId xmlns:a16="http://schemas.microsoft.com/office/drawing/2014/main" id="{B3B4B951-CF32-45EC-B7C4-F04E0C5EFC51}"/>
                </a:ext>
              </a:extLst>
            </p:cNvPr>
            <p:cNvGrpSpPr/>
            <p:nvPr/>
          </p:nvGrpSpPr>
          <p:grpSpPr>
            <a:xfrm>
              <a:off x="503937" y="3571876"/>
              <a:ext cx="2462945" cy="1479927"/>
              <a:chOff x="63233" y="4774171"/>
              <a:chExt cx="2462945" cy="1479927"/>
            </a:xfrm>
          </p:grpSpPr>
          <p:sp>
            <p:nvSpPr>
              <p:cNvPr id="35" name="圆角矩形 97">
                <a:extLst>
                  <a:ext uri="{FF2B5EF4-FFF2-40B4-BE49-F238E27FC236}">
                    <a16:creationId xmlns:a16="http://schemas.microsoft.com/office/drawing/2014/main" id="{49EF1932-E833-46A6-B04A-9B14268A8182}"/>
                  </a:ext>
                </a:extLst>
              </p:cNvPr>
              <p:cNvSpPr/>
              <p:nvPr/>
            </p:nvSpPr>
            <p:spPr>
              <a:xfrm>
                <a:off x="63233" y="4964087"/>
                <a:ext cx="2462945" cy="129001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36" name="圆角矩形 45">
                <a:extLst>
                  <a:ext uri="{FF2B5EF4-FFF2-40B4-BE49-F238E27FC236}">
                    <a16:creationId xmlns:a16="http://schemas.microsoft.com/office/drawing/2014/main" id="{94A304B8-0F50-41DA-8A0B-62332F47D0E0}"/>
                  </a:ext>
                </a:extLst>
              </p:cNvPr>
              <p:cNvSpPr/>
              <p:nvPr/>
            </p:nvSpPr>
            <p:spPr>
              <a:xfrm>
                <a:off x="680339" y="4774171"/>
                <a:ext cx="1582020" cy="422783"/>
              </a:xfrm>
              <a:prstGeom prst="roundRect">
                <a:avLst>
                  <a:gd name="adj" fmla="val 50000"/>
                </a:avLst>
              </a:prstGeom>
              <a:solidFill>
                <a:schemeClr val="bg1">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45703" rIns="0" bIns="45703" anchor="ctr" anchorCtr="1"/>
              <a:lstStyle/>
              <a:p>
                <a:pPr algn="r" fontAlgn="base">
                  <a:spcBef>
                    <a:spcPct val="0"/>
                  </a:spcBef>
                  <a:spcAft>
                    <a:spcPct val="0"/>
                  </a:spcAft>
                </a:pPr>
                <a:r>
                  <a:rPr lang="en-US" altLang="zh-CN" sz="1200" b="1" kern="0" dirty="0"/>
                  <a:t>Londrina</a:t>
                </a:r>
              </a:p>
            </p:txBody>
          </p:sp>
        </p:grpSp>
        <p:grpSp>
          <p:nvGrpSpPr>
            <p:cNvPr id="15" name="组合 56">
              <a:extLst>
                <a:ext uri="{FF2B5EF4-FFF2-40B4-BE49-F238E27FC236}">
                  <a16:creationId xmlns:a16="http://schemas.microsoft.com/office/drawing/2014/main" id="{ACC726F9-74E6-4727-AF6E-0A67514F58C4}"/>
                </a:ext>
              </a:extLst>
            </p:cNvPr>
            <p:cNvGrpSpPr/>
            <p:nvPr/>
          </p:nvGrpSpPr>
          <p:grpSpPr>
            <a:xfrm>
              <a:off x="1218634" y="5143512"/>
              <a:ext cx="2248314" cy="1479927"/>
              <a:chOff x="277864" y="4774171"/>
              <a:chExt cx="2248314" cy="1479927"/>
            </a:xfrm>
          </p:grpSpPr>
          <p:sp>
            <p:nvSpPr>
              <p:cNvPr id="26" name="圆角矩形 67">
                <a:extLst>
                  <a:ext uri="{FF2B5EF4-FFF2-40B4-BE49-F238E27FC236}">
                    <a16:creationId xmlns:a16="http://schemas.microsoft.com/office/drawing/2014/main" id="{0867EBA0-4C0D-4C3D-BC8E-BA0119171CD5}"/>
                  </a:ext>
                </a:extLst>
              </p:cNvPr>
              <p:cNvSpPr/>
              <p:nvPr/>
            </p:nvSpPr>
            <p:spPr>
              <a:xfrm>
                <a:off x="277864" y="4964087"/>
                <a:ext cx="2248314" cy="129001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27" name="圆角矩形 45">
                <a:extLst>
                  <a:ext uri="{FF2B5EF4-FFF2-40B4-BE49-F238E27FC236}">
                    <a16:creationId xmlns:a16="http://schemas.microsoft.com/office/drawing/2014/main" id="{37DAE50C-677B-4671-8CC6-9F95A54A5B1A}"/>
                  </a:ext>
                </a:extLst>
              </p:cNvPr>
              <p:cNvSpPr/>
              <p:nvPr/>
            </p:nvSpPr>
            <p:spPr>
              <a:xfrm>
                <a:off x="581684" y="4774171"/>
                <a:ext cx="1779332" cy="422783"/>
              </a:xfrm>
              <a:prstGeom prst="roundRect">
                <a:avLst>
                  <a:gd name="adj" fmla="val 50000"/>
                </a:avLst>
              </a:prstGeom>
              <a:solidFill>
                <a:schemeClr val="bg1">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45703" rIns="0" bIns="45703" anchor="ctr" anchorCtr="1"/>
              <a:lstStyle/>
              <a:p>
                <a:pPr algn="r" fontAlgn="base">
                  <a:spcBef>
                    <a:spcPct val="0"/>
                  </a:spcBef>
                  <a:spcAft>
                    <a:spcPct val="0"/>
                  </a:spcAft>
                </a:pPr>
                <a:r>
                  <a:rPr lang="en-US" altLang="zh-CN" sz="1200" b="1" kern="0" dirty="0" err="1"/>
                  <a:t>Cachoeirinha</a:t>
                </a:r>
                <a:endParaRPr lang="en-US" altLang="zh-CN" sz="1200" b="1" kern="0" dirty="0"/>
              </a:p>
            </p:txBody>
          </p:sp>
        </p:grpSp>
        <p:sp>
          <p:nvSpPr>
            <p:cNvPr id="16" name="Oval 25">
              <a:extLst>
                <a:ext uri="{FF2B5EF4-FFF2-40B4-BE49-F238E27FC236}">
                  <a16:creationId xmlns:a16="http://schemas.microsoft.com/office/drawing/2014/main" id="{E3FF5327-AAC3-4421-A9A8-576F922EB1B8}"/>
                </a:ext>
              </a:extLst>
            </p:cNvPr>
            <p:cNvSpPr>
              <a:spLocks noChangeArrowheads="1"/>
            </p:cNvSpPr>
            <p:nvPr/>
          </p:nvSpPr>
          <p:spPr bwMode="gray">
            <a:xfrm>
              <a:off x="4786314" y="4929198"/>
              <a:ext cx="108821" cy="10882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17" name="肘形连接符 139">
              <a:extLst>
                <a:ext uri="{FF2B5EF4-FFF2-40B4-BE49-F238E27FC236}">
                  <a16:creationId xmlns:a16="http://schemas.microsoft.com/office/drawing/2014/main" id="{AA947F96-D60E-42D3-BF88-ED9FE5BA7B35}"/>
                </a:ext>
              </a:extLst>
            </p:cNvPr>
            <p:cNvCxnSpPr>
              <a:cxnSpLocks/>
              <a:stCxn id="16" idx="4"/>
              <a:endCxn id="38" idx="1"/>
            </p:cNvCxnSpPr>
            <p:nvPr/>
          </p:nvCxnSpPr>
          <p:spPr>
            <a:xfrm rot="16200000" flipH="1">
              <a:off x="5129199" y="4749545"/>
              <a:ext cx="868840" cy="1445786"/>
            </a:xfrm>
            <a:prstGeom prst="bentConnector2">
              <a:avLst/>
            </a:prstGeom>
            <a:noFill/>
            <a:ln w="9525">
              <a:solidFill>
                <a:srgbClr val="C00000"/>
              </a:solidFill>
              <a:prstDash val="sysDash"/>
              <a:miter lim="800000"/>
              <a:headEnd/>
              <a:tailEnd/>
            </a:ln>
          </p:spPr>
        </p:cxnSp>
        <p:sp>
          <p:nvSpPr>
            <p:cNvPr id="18" name="Oval 25">
              <a:extLst>
                <a:ext uri="{FF2B5EF4-FFF2-40B4-BE49-F238E27FC236}">
                  <a16:creationId xmlns:a16="http://schemas.microsoft.com/office/drawing/2014/main" id="{36790634-7F19-4D5A-94DC-1B0CA864B99A}"/>
                </a:ext>
              </a:extLst>
            </p:cNvPr>
            <p:cNvSpPr>
              <a:spLocks noChangeArrowheads="1"/>
            </p:cNvSpPr>
            <p:nvPr/>
          </p:nvSpPr>
          <p:spPr bwMode="gray">
            <a:xfrm>
              <a:off x="4387906" y="5166937"/>
              <a:ext cx="108820" cy="108820"/>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sp>
          <p:nvSpPr>
            <p:cNvPr id="22" name="Oval 25">
              <a:extLst>
                <a:ext uri="{FF2B5EF4-FFF2-40B4-BE49-F238E27FC236}">
                  <a16:creationId xmlns:a16="http://schemas.microsoft.com/office/drawing/2014/main" id="{F7484D4C-BE28-4837-AC1C-20CC46D8C72F}"/>
                </a:ext>
              </a:extLst>
            </p:cNvPr>
            <p:cNvSpPr>
              <a:spLocks noChangeArrowheads="1"/>
            </p:cNvSpPr>
            <p:nvPr/>
          </p:nvSpPr>
          <p:spPr bwMode="gray">
            <a:xfrm>
              <a:off x="4107002" y="5724518"/>
              <a:ext cx="108821" cy="10882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23" name="肘形连接符 139">
              <a:extLst>
                <a:ext uri="{FF2B5EF4-FFF2-40B4-BE49-F238E27FC236}">
                  <a16:creationId xmlns:a16="http://schemas.microsoft.com/office/drawing/2014/main" id="{55A320D9-A20C-438B-A100-E8CDF5489B35}"/>
                </a:ext>
              </a:extLst>
            </p:cNvPr>
            <p:cNvCxnSpPr>
              <a:cxnSpLocks/>
              <a:stCxn id="26" idx="3"/>
              <a:endCxn id="22" idx="4"/>
            </p:cNvCxnSpPr>
            <p:nvPr/>
          </p:nvCxnSpPr>
          <p:spPr>
            <a:xfrm flipV="1">
              <a:off x="3466948" y="5833338"/>
              <a:ext cx="694465" cy="145096"/>
            </a:xfrm>
            <a:prstGeom prst="bentConnector2">
              <a:avLst/>
            </a:prstGeom>
            <a:noFill/>
            <a:ln w="9525">
              <a:solidFill>
                <a:srgbClr val="C00000"/>
              </a:solidFill>
              <a:prstDash val="sysDash"/>
              <a:miter lim="800000"/>
              <a:headEnd/>
              <a:tailEnd/>
            </a:ln>
          </p:spPr>
        </p:cxnSp>
      </p:grpSp>
      <p:cxnSp>
        <p:nvCxnSpPr>
          <p:cNvPr id="68" name="肘形连接符 139">
            <a:extLst>
              <a:ext uri="{FF2B5EF4-FFF2-40B4-BE49-F238E27FC236}">
                <a16:creationId xmlns:a16="http://schemas.microsoft.com/office/drawing/2014/main" id="{897DF502-2E18-44FC-AE0E-8F0314F796D3}"/>
              </a:ext>
            </a:extLst>
          </p:cNvPr>
          <p:cNvCxnSpPr>
            <a:cxnSpLocks/>
            <a:stCxn id="18" idx="2"/>
          </p:cNvCxnSpPr>
          <p:nvPr/>
        </p:nvCxnSpPr>
        <p:spPr>
          <a:xfrm rot="10800000">
            <a:off x="7676957" y="4569084"/>
            <a:ext cx="1036197" cy="760864"/>
          </a:xfrm>
          <a:prstGeom prst="bentConnector3">
            <a:avLst>
              <a:gd name="adj1" fmla="val 50000"/>
            </a:avLst>
          </a:prstGeom>
          <a:noFill/>
          <a:ln w="9525">
            <a:solidFill>
              <a:srgbClr val="C00000"/>
            </a:solidFill>
            <a:prstDash val="sysDash"/>
            <a:miter lim="800000"/>
            <a:headEnd/>
            <a:tailEnd/>
          </a:ln>
        </p:spPr>
      </p:cxnSp>
      <p:sp>
        <p:nvSpPr>
          <p:cNvPr id="72" name="Text Box 16">
            <a:extLst>
              <a:ext uri="{FF2B5EF4-FFF2-40B4-BE49-F238E27FC236}">
                <a16:creationId xmlns:a16="http://schemas.microsoft.com/office/drawing/2014/main" id="{1EB27187-13E2-4281-8A84-A28876AD4E8E}"/>
              </a:ext>
            </a:extLst>
          </p:cNvPr>
          <p:cNvSpPr txBox="1">
            <a:spLocks noChangeArrowheads="1"/>
          </p:cNvSpPr>
          <p:nvPr/>
        </p:nvSpPr>
        <p:spPr bwMode="auto">
          <a:xfrm>
            <a:off x="5871443" y="4470581"/>
            <a:ext cx="1798644" cy="501419"/>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err="1">
                <a:latin typeface="Calibri" pitchFamily="34" charset="0"/>
                <a:cs typeface="Calibri" pitchFamily="34" charset="0"/>
              </a:rPr>
              <a:t>Distribuição</a:t>
            </a:r>
            <a:r>
              <a:rPr lang="en-US" altLang="zh-CN" sz="1200" dirty="0">
                <a:latin typeface="Calibri" pitchFamily="34" charset="0"/>
                <a:cs typeface="Calibri" pitchFamily="34" charset="0"/>
              </a:rPr>
              <a:t> no </a:t>
            </a:r>
            <a:r>
              <a:rPr lang="en-US" altLang="zh-CN" sz="1200" dirty="0" err="1">
                <a:latin typeface="Calibri" pitchFamily="34" charset="0"/>
                <a:cs typeface="Calibri" pitchFamily="34" charset="0"/>
              </a:rPr>
              <a:t>estado</a:t>
            </a:r>
            <a:r>
              <a:rPr lang="en-US" altLang="zh-CN" sz="1200" dirty="0">
                <a:latin typeface="Calibri" pitchFamily="34" charset="0"/>
                <a:cs typeface="Calibri" pitchFamily="34" charset="0"/>
              </a:rPr>
              <a:t> do Parana</a:t>
            </a:r>
          </a:p>
        </p:txBody>
      </p:sp>
      <p:sp>
        <p:nvSpPr>
          <p:cNvPr id="73" name="Text Box 16">
            <a:extLst>
              <a:ext uri="{FF2B5EF4-FFF2-40B4-BE49-F238E27FC236}">
                <a16:creationId xmlns:a16="http://schemas.microsoft.com/office/drawing/2014/main" id="{26385042-1726-4F56-96AF-C4B3915AAB8C}"/>
              </a:ext>
            </a:extLst>
          </p:cNvPr>
          <p:cNvSpPr txBox="1">
            <a:spLocks noChangeArrowheads="1"/>
          </p:cNvSpPr>
          <p:nvPr/>
        </p:nvSpPr>
        <p:spPr bwMode="auto">
          <a:xfrm>
            <a:off x="6365646" y="5637049"/>
            <a:ext cx="1798644" cy="501419"/>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err="1">
                <a:latin typeface="Calibri" pitchFamily="34" charset="0"/>
                <a:cs typeface="Calibri" pitchFamily="34" charset="0"/>
              </a:rPr>
              <a:t>Distribuição</a:t>
            </a:r>
            <a:r>
              <a:rPr lang="en-US" altLang="zh-CN" sz="1200" dirty="0">
                <a:latin typeface="Calibri" pitchFamily="34" charset="0"/>
                <a:cs typeface="Calibri" pitchFamily="34" charset="0"/>
              </a:rPr>
              <a:t> no </a:t>
            </a:r>
            <a:r>
              <a:rPr lang="en-US" altLang="zh-CN" sz="1200" dirty="0" err="1">
                <a:latin typeface="Calibri" pitchFamily="34" charset="0"/>
                <a:cs typeface="Calibri" pitchFamily="34" charset="0"/>
              </a:rPr>
              <a:t>estado</a:t>
            </a:r>
            <a:r>
              <a:rPr lang="en-US" altLang="zh-CN" sz="1200" dirty="0">
                <a:latin typeface="Calibri" pitchFamily="34" charset="0"/>
                <a:cs typeface="Calibri" pitchFamily="34" charset="0"/>
              </a:rPr>
              <a:t> do Rio Grande do Sul</a:t>
            </a:r>
          </a:p>
        </p:txBody>
      </p:sp>
      <p:pic>
        <p:nvPicPr>
          <p:cNvPr id="70" name="Imagem 69">
            <a:extLst>
              <a:ext uri="{FF2B5EF4-FFF2-40B4-BE49-F238E27FC236}">
                <a16:creationId xmlns:a16="http://schemas.microsoft.com/office/drawing/2014/main" id="{EF337B32-BD3A-4113-B0B1-331BA1BC8412}"/>
              </a:ext>
            </a:extLst>
          </p:cNvPr>
          <p:cNvPicPr>
            <a:picLocks noChangeAspect="1"/>
          </p:cNvPicPr>
          <p:nvPr/>
        </p:nvPicPr>
        <p:blipFill>
          <a:blip r:embed="rId3"/>
          <a:stretch>
            <a:fillRect/>
          </a:stretch>
        </p:blipFill>
        <p:spPr>
          <a:xfrm>
            <a:off x="7221512" y="734931"/>
            <a:ext cx="3990975" cy="714375"/>
          </a:xfrm>
          <a:prstGeom prst="rect">
            <a:avLst/>
          </a:prstGeom>
        </p:spPr>
      </p:pic>
    </p:spTree>
    <p:extLst>
      <p:ext uri="{BB962C8B-B14F-4D97-AF65-F5344CB8AC3E}">
        <p14:creationId xmlns:p14="http://schemas.microsoft.com/office/powerpoint/2010/main" val="3147644235"/>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18000">
              <a:srgbClr val="00A5E2"/>
            </a:gs>
            <a:gs pos="100000">
              <a:srgbClr val="00A5E2"/>
            </a:gs>
          </a:gsLst>
          <a:lin ang="6120000" scaled="1"/>
        </a:gradFill>
        <a:effectLst/>
      </p:bgPr>
    </p:bg>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dirty="0" err="1"/>
              <a:t>Logistica</a:t>
            </a:r>
            <a:r>
              <a:rPr lang="en-US" dirty="0"/>
              <a:t> - </a:t>
            </a:r>
            <a:r>
              <a:rPr lang="en-US" dirty="0" err="1"/>
              <a:t>RoundUp</a:t>
            </a:r>
            <a:endParaRPr lang="en-US" dirty="0"/>
          </a:p>
        </p:txBody>
      </p:sp>
      <p:sp>
        <p:nvSpPr>
          <p:cNvPr id="2" name="Title 1"/>
          <p:cNvSpPr>
            <a:spLocks noGrp="1"/>
          </p:cNvSpPr>
          <p:nvPr>
            <p:ph type="title"/>
          </p:nvPr>
        </p:nvSpPr>
        <p:spPr/>
        <p:txBody>
          <a:bodyPr/>
          <a:lstStyle/>
          <a:p>
            <a:r>
              <a:rPr lang="en-US" dirty="0"/>
              <a:t>Distribution CP</a:t>
            </a:r>
          </a:p>
        </p:txBody>
      </p:sp>
      <p:sp>
        <p:nvSpPr>
          <p:cNvPr id="3" name="Text Placeholder 2"/>
          <p:cNvSpPr>
            <a:spLocks noGrp="1"/>
          </p:cNvSpPr>
          <p:nvPr>
            <p:ph sz="quarter" idx="14"/>
          </p:nvPr>
        </p:nvSpPr>
        <p:spPr>
          <a:xfrm>
            <a:off x="981820" y="1732751"/>
            <a:ext cx="10798461" cy="2275115"/>
          </a:xfrm>
        </p:spPr>
        <p:txBody>
          <a:bodyPr/>
          <a:lstStyle/>
          <a:p>
            <a:r>
              <a:rPr lang="en-US" dirty="0" err="1"/>
              <a:t>Operação</a:t>
            </a:r>
            <a:r>
              <a:rPr lang="en-US" dirty="0"/>
              <a:t> de </a:t>
            </a:r>
            <a:r>
              <a:rPr lang="en-US" dirty="0" err="1"/>
              <a:t>Vendas</a:t>
            </a:r>
            <a:endParaRPr lang="en-US" dirty="0"/>
          </a:p>
          <a:p>
            <a:pPr marL="285750" indent="-285750">
              <a:buFontTx/>
              <a:buChar char="-"/>
            </a:pPr>
            <a:r>
              <a:rPr lang="en-US" dirty="0"/>
              <a:t>2 </a:t>
            </a:r>
            <a:r>
              <a:rPr lang="en-US" dirty="0" err="1"/>
              <a:t>Centros</a:t>
            </a:r>
            <a:r>
              <a:rPr lang="en-US" dirty="0"/>
              <a:t> </a:t>
            </a:r>
            <a:r>
              <a:rPr lang="en-US" dirty="0" err="1"/>
              <a:t>logisticos</a:t>
            </a:r>
            <a:r>
              <a:rPr lang="en-US" dirty="0"/>
              <a:t>:</a:t>
            </a:r>
          </a:p>
          <a:p>
            <a:pPr marL="555750" lvl="1" indent="-285750">
              <a:buFontTx/>
              <a:buChar char="-"/>
            </a:pPr>
            <a:r>
              <a:rPr lang="en-US" dirty="0" err="1"/>
              <a:t>Cachoeirinha</a:t>
            </a:r>
            <a:endParaRPr lang="en-US" dirty="0"/>
          </a:p>
          <a:p>
            <a:pPr marL="555750" lvl="1" indent="-285750">
              <a:buFontTx/>
              <a:buChar char="-"/>
            </a:pPr>
            <a:r>
              <a:rPr lang="en-US" dirty="0"/>
              <a:t>Londrina</a:t>
            </a:r>
          </a:p>
          <a:p>
            <a:pPr marL="285750" indent="-285750">
              <a:buFontTx/>
              <a:buChar char="-"/>
            </a:pPr>
            <a:r>
              <a:rPr lang="en-US" dirty="0"/>
              <a:t>5 </a:t>
            </a:r>
            <a:r>
              <a:rPr lang="en-US" dirty="0" err="1"/>
              <a:t>Transportadoras</a:t>
            </a:r>
            <a:endParaRPr lang="en-US" dirty="0"/>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p:txBody>
      </p:sp>
      <p:sp>
        <p:nvSpPr>
          <p:cNvPr id="13" name="Fußzeilenplatzhalter 12"/>
          <p:cNvSpPr>
            <a:spLocks noGrp="1"/>
          </p:cNvSpPr>
          <p:nvPr>
            <p:ph type="ftr" sz="quarter" idx="11"/>
          </p:nvPr>
        </p:nvSpPr>
        <p:spPr/>
        <p:txBody>
          <a:bodyPr/>
          <a:lstStyle/>
          <a:p>
            <a:r>
              <a:rPr lang="en-US"/>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5</a:t>
            </a:fld>
            <a:endParaRPr lang="en-US" dirty="0"/>
          </a:p>
        </p:txBody>
      </p:sp>
      <p:grpSp>
        <p:nvGrpSpPr>
          <p:cNvPr id="7" name="组合 50">
            <a:extLst>
              <a:ext uri="{FF2B5EF4-FFF2-40B4-BE49-F238E27FC236}">
                <a16:creationId xmlns:a16="http://schemas.microsoft.com/office/drawing/2014/main" id="{446649DD-850A-4A66-8868-A91B7B7BDBCC}"/>
              </a:ext>
            </a:extLst>
          </p:cNvPr>
          <p:cNvGrpSpPr/>
          <p:nvPr/>
        </p:nvGrpSpPr>
        <p:grpSpPr>
          <a:xfrm>
            <a:off x="6713968" y="596121"/>
            <a:ext cx="4433225" cy="4676269"/>
            <a:chOff x="503937" y="1273175"/>
            <a:chExt cx="6146250" cy="6483210"/>
          </a:xfrm>
        </p:grpSpPr>
        <p:grpSp>
          <p:nvGrpSpPr>
            <p:cNvPr id="8" name="Group 22">
              <a:extLst>
                <a:ext uri="{FF2B5EF4-FFF2-40B4-BE49-F238E27FC236}">
                  <a16:creationId xmlns:a16="http://schemas.microsoft.com/office/drawing/2014/main" id="{AA08AA30-B35E-4A27-B3CC-E3A8049B107E}"/>
                </a:ext>
              </a:extLst>
            </p:cNvPr>
            <p:cNvGrpSpPr>
              <a:grpSpLocks/>
            </p:cNvGrpSpPr>
            <p:nvPr/>
          </p:nvGrpSpPr>
          <p:grpSpPr bwMode="auto">
            <a:xfrm>
              <a:off x="1608287" y="1273175"/>
              <a:ext cx="5041900" cy="5038725"/>
              <a:chOff x="265" y="802"/>
              <a:chExt cx="3176" cy="3174"/>
            </a:xfrm>
          </p:grpSpPr>
          <p:sp>
            <p:nvSpPr>
              <p:cNvPr id="41" name="Freeform 23">
                <a:extLst>
                  <a:ext uri="{FF2B5EF4-FFF2-40B4-BE49-F238E27FC236}">
                    <a16:creationId xmlns:a16="http://schemas.microsoft.com/office/drawing/2014/main" id="{28467F0D-8AAA-461F-9237-A1ECF0BD1A03}"/>
                  </a:ext>
                </a:extLst>
              </p:cNvPr>
              <p:cNvSpPr>
                <a:spLocks/>
              </p:cNvSpPr>
              <p:nvPr/>
            </p:nvSpPr>
            <p:spPr bwMode="auto">
              <a:xfrm>
                <a:off x="848" y="1883"/>
                <a:ext cx="567" cy="471"/>
              </a:xfrm>
              <a:custGeom>
                <a:avLst/>
                <a:gdLst/>
                <a:ahLst/>
                <a:cxnLst>
                  <a:cxn ang="0">
                    <a:pos x="2645" y="2550"/>
                  </a:cxn>
                  <a:cxn ang="0">
                    <a:pos x="2684" y="2454"/>
                  </a:cxn>
                  <a:cxn ang="0">
                    <a:pos x="2779" y="2418"/>
                  </a:cxn>
                  <a:cxn ang="0">
                    <a:pos x="2858" y="2231"/>
                  </a:cxn>
                  <a:cxn ang="0">
                    <a:pos x="2956" y="2159"/>
                  </a:cxn>
                  <a:cxn ang="0">
                    <a:pos x="3027" y="2003"/>
                  </a:cxn>
                  <a:cxn ang="0">
                    <a:pos x="3015" y="1836"/>
                  </a:cxn>
                  <a:cxn ang="0">
                    <a:pos x="2944" y="1716"/>
                  </a:cxn>
                  <a:cxn ang="0">
                    <a:pos x="2921" y="1608"/>
                  </a:cxn>
                  <a:cxn ang="0">
                    <a:pos x="3015" y="1536"/>
                  </a:cxn>
                  <a:cxn ang="0">
                    <a:pos x="2988" y="1417"/>
                  </a:cxn>
                  <a:cxn ang="0">
                    <a:pos x="2858" y="1405"/>
                  </a:cxn>
                  <a:cxn ang="0">
                    <a:pos x="2775" y="1341"/>
                  </a:cxn>
                  <a:cxn ang="0">
                    <a:pos x="2539" y="1345"/>
                  </a:cxn>
                  <a:cxn ang="0">
                    <a:pos x="2318" y="1341"/>
                  </a:cxn>
                  <a:cxn ang="0">
                    <a:pos x="2291" y="962"/>
                  </a:cxn>
                  <a:cxn ang="0">
                    <a:pos x="2342" y="854"/>
                  </a:cxn>
                  <a:cxn ang="0">
                    <a:pos x="2271" y="591"/>
                  </a:cxn>
                  <a:cxn ang="0">
                    <a:pos x="2314" y="479"/>
                  </a:cxn>
                  <a:cxn ang="0">
                    <a:pos x="2318" y="360"/>
                  </a:cxn>
                  <a:cxn ang="0">
                    <a:pos x="2198" y="334"/>
                  </a:cxn>
                  <a:cxn ang="0">
                    <a:pos x="2102" y="394"/>
                  </a:cxn>
                  <a:cxn ang="0">
                    <a:pos x="1949" y="204"/>
                  </a:cxn>
                  <a:cxn ang="0">
                    <a:pos x="1824" y="114"/>
                  </a:cxn>
                  <a:cxn ang="0">
                    <a:pos x="1725" y="0"/>
                  </a:cxn>
                  <a:cxn ang="0">
                    <a:pos x="1484" y="16"/>
                  </a:cxn>
                  <a:cxn ang="0">
                    <a:pos x="1241" y="180"/>
                  </a:cxn>
                  <a:cxn ang="0">
                    <a:pos x="1244" y="297"/>
                  </a:cxn>
                  <a:cxn ang="0">
                    <a:pos x="1185" y="411"/>
                  </a:cxn>
                  <a:cxn ang="0">
                    <a:pos x="990" y="459"/>
                  </a:cxn>
                  <a:cxn ang="0">
                    <a:pos x="855" y="468"/>
                  </a:cxn>
                  <a:cxn ang="0">
                    <a:pos x="771" y="563"/>
                  </a:cxn>
                  <a:cxn ang="0">
                    <a:pos x="676" y="591"/>
                  </a:cxn>
                  <a:cxn ang="0">
                    <a:pos x="428" y="627"/>
                  </a:cxn>
                  <a:cxn ang="0">
                    <a:pos x="158" y="625"/>
                  </a:cxn>
                  <a:cxn ang="0">
                    <a:pos x="110" y="741"/>
                  </a:cxn>
                  <a:cxn ang="0">
                    <a:pos x="0" y="807"/>
                  </a:cxn>
                  <a:cxn ang="0">
                    <a:pos x="62" y="886"/>
                  </a:cxn>
                  <a:cxn ang="0">
                    <a:pos x="153" y="825"/>
                  </a:cxn>
                  <a:cxn ang="0">
                    <a:pos x="300" y="817"/>
                  </a:cxn>
                  <a:cxn ang="0">
                    <a:pos x="452" y="783"/>
                  </a:cxn>
                  <a:cxn ang="0">
                    <a:pos x="542" y="825"/>
                  </a:cxn>
                  <a:cxn ang="0">
                    <a:pos x="603" y="783"/>
                  </a:cxn>
                  <a:cxn ang="0">
                    <a:pos x="674" y="828"/>
                  </a:cxn>
                  <a:cxn ang="0">
                    <a:pos x="660" y="1018"/>
                  </a:cxn>
                  <a:cxn ang="0">
                    <a:pos x="593" y="1161"/>
                  </a:cxn>
                  <a:cxn ang="0">
                    <a:pos x="676" y="1345"/>
                  </a:cxn>
                  <a:cxn ang="0">
                    <a:pos x="629" y="1465"/>
                  </a:cxn>
                  <a:cxn ang="0">
                    <a:pos x="688" y="1596"/>
                  </a:cxn>
                  <a:cxn ang="0">
                    <a:pos x="708" y="1680"/>
                  </a:cxn>
                  <a:cxn ang="0">
                    <a:pos x="838" y="1788"/>
                  </a:cxn>
                  <a:cxn ang="0">
                    <a:pos x="991" y="1896"/>
                  </a:cxn>
                  <a:cxn ang="0">
                    <a:pos x="1038" y="1975"/>
                  </a:cxn>
                  <a:cxn ang="0">
                    <a:pos x="1216" y="2015"/>
                  </a:cxn>
                  <a:cxn ang="0">
                    <a:pos x="1373" y="1999"/>
                  </a:cxn>
                  <a:cxn ang="0">
                    <a:pos x="1539" y="2131"/>
                  </a:cxn>
                  <a:cxn ang="0">
                    <a:pos x="1605" y="2071"/>
                  </a:cxn>
                  <a:cxn ang="0">
                    <a:pos x="1735" y="2243"/>
                  </a:cxn>
                  <a:cxn ang="0">
                    <a:pos x="1999" y="2279"/>
                  </a:cxn>
                  <a:cxn ang="0">
                    <a:pos x="2090" y="2398"/>
                  </a:cxn>
                  <a:cxn ang="0">
                    <a:pos x="2184" y="2458"/>
                  </a:cxn>
                  <a:cxn ang="0">
                    <a:pos x="2460" y="2466"/>
                  </a:cxn>
                  <a:cxn ang="0">
                    <a:pos x="2645" y="2550"/>
                  </a:cxn>
                </a:cxnLst>
                <a:rect l="0" t="0" r="r" b="b"/>
                <a:pathLst>
                  <a:path w="3027" h="2550">
                    <a:moveTo>
                      <a:pt x="2645" y="2550"/>
                    </a:moveTo>
                    <a:lnTo>
                      <a:pt x="2684" y="2454"/>
                    </a:lnTo>
                    <a:lnTo>
                      <a:pt x="2779" y="2418"/>
                    </a:lnTo>
                    <a:lnTo>
                      <a:pt x="2858" y="2231"/>
                    </a:lnTo>
                    <a:lnTo>
                      <a:pt x="2956" y="2159"/>
                    </a:lnTo>
                    <a:lnTo>
                      <a:pt x="3027" y="2003"/>
                    </a:lnTo>
                    <a:lnTo>
                      <a:pt x="3015" y="1836"/>
                    </a:lnTo>
                    <a:lnTo>
                      <a:pt x="2944" y="1716"/>
                    </a:lnTo>
                    <a:lnTo>
                      <a:pt x="2921" y="1608"/>
                    </a:lnTo>
                    <a:lnTo>
                      <a:pt x="3015" y="1536"/>
                    </a:lnTo>
                    <a:lnTo>
                      <a:pt x="2988" y="1417"/>
                    </a:lnTo>
                    <a:lnTo>
                      <a:pt x="2858" y="1405"/>
                    </a:lnTo>
                    <a:lnTo>
                      <a:pt x="2775" y="1341"/>
                    </a:lnTo>
                    <a:lnTo>
                      <a:pt x="2539" y="1345"/>
                    </a:lnTo>
                    <a:lnTo>
                      <a:pt x="2318" y="1341"/>
                    </a:lnTo>
                    <a:lnTo>
                      <a:pt x="2291" y="962"/>
                    </a:lnTo>
                    <a:lnTo>
                      <a:pt x="2342" y="854"/>
                    </a:lnTo>
                    <a:lnTo>
                      <a:pt x="2271" y="591"/>
                    </a:lnTo>
                    <a:lnTo>
                      <a:pt x="2314" y="479"/>
                    </a:lnTo>
                    <a:lnTo>
                      <a:pt x="2318" y="360"/>
                    </a:lnTo>
                    <a:lnTo>
                      <a:pt x="2198" y="334"/>
                    </a:lnTo>
                    <a:lnTo>
                      <a:pt x="2102" y="394"/>
                    </a:lnTo>
                    <a:lnTo>
                      <a:pt x="1949" y="204"/>
                    </a:lnTo>
                    <a:lnTo>
                      <a:pt x="1824" y="114"/>
                    </a:lnTo>
                    <a:lnTo>
                      <a:pt x="1725" y="0"/>
                    </a:lnTo>
                    <a:lnTo>
                      <a:pt x="1484" y="16"/>
                    </a:lnTo>
                    <a:lnTo>
                      <a:pt x="1241" y="180"/>
                    </a:lnTo>
                    <a:lnTo>
                      <a:pt x="1244" y="297"/>
                    </a:lnTo>
                    <a:lnTo>
                      <a:pt x="1185" y="411"/>
                    </a:lnTo>
                    <a:lnTo>
                      <a:pt x="990" y="459"/>
                    </a:lnTo>
                    <a:lnTo>
                      <a:pt x="855" y="468"/>
                    </a:lnTo>
                    <a:lnTo>
                      <a:pt x="771" y="563"/>
                    </a:lnTo>
                    <a:lnTo>
                      <a:pt x="676" y="591"/>
                    </a:lnTo>
                    <a:lnTo>
                      <a:pt x="428" y="627"/>
                    </a:lnTo>
                    <a:lnTo>
                      <a:pt x="158" y="625"/>
                    </a:lnTo>
                    <a:lnTo>
                      <a:pt x="110" y="741"/>
                    </a:lnTo>
                    <a:lnTo>
                      <a:pt x="0" y="807"/>
                    </a:lnTo>
                    <a:lnTo>
                      <a:pt x="62" y="886"/>
                    </a:lnTo>
                    <a:lnTo>
                      <a:pt x="153" y="825"/>
                    </a:lnTo>
                    <a:lnTo>
                      <a:pt x="300" y="817"/>
                    </a:lnTo>
                    <a:lnTo>
                      <a:pt x="452" y="783"/>
                    </a:lnTo>
                    <a:lnTo>
                      <a:pt x="542" y="825"/>
                    </a:lnTo>
                    <a:lnTo>
                      <a:pt x="603" y="783"/>
                    </a:lnTo>
                    <a:lnTo>
                      <a:pt x="674" y="828"/>
                    </a:lnTo>
                    <a:lnTo>
                      <a:pt x="660" y="1018"/>
                    </a:lnTo>
                    <a:lnTo>
                      <a:pt x="593" y="1161"/>
                    </a:lnTo>
                    <a:lnTo>
                      <a:pt x="676" y="1345"/>
                    </a:lnTo>
                    <a:lnTo>
                      <a:pt x="629" y="1465"/>
                    </a:lnTo>
                    <a:lnTo>
                      <a:pt x="688" y="1596"/>
                    </a:lnTo>
                    <a:lnTo>
                      <a:pt x="708" y="1680"/>
                    </a:lnTo>
                    <a:lnTo>
                      <a:pt x="838" y="1788"/>
                    </a:lnTo>
                    <a:lnTo>
                      <a:pt x="991" y="1896"/>
                    </a:lnTo>
                    <a:lnTo>
                      <a:pt x="1038" y="1975"/>
                    </a:lnTo>
                    <a:lnTo>
                      <a:pt x="1216" y="2015"/>
                    </a:lnTo>
                    <a:lnTo>
                      <a:pt x="1373" y="1999"/>
                    </a:lnTo>
                    <a:lnTo>
                      <a:pt x="1539" y="2131"/>
                    </a:lnTo>
                    <a:lnTo>
                      <a:pt x="1605" y="2071"/>
                    </a:lnTo>
                    <a:lnTo>
                      <a:pt x="1735" y="2243"/>
                    </a:lnTo>
                    <a:lnTo>
                      <a:pt x="1999" y="2279"/>
                    </a:lnTo>
                    <a:lnTo>
                      <a:pt x="2090" y="2398"/>
                    </a:lnTo>
                    <a:lnTo>
                      <a:pt x="2184" y="2458"/>
                    </a:lnTo>
                    <a:lnTo>
                      <a:pt x="2460" y="2466"/>
                    </a:lnTo>
                    <a:lnTo>
                      <a:pt x="2645" y="255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2" name="Freeform 24">
                <a:extLst>
                  <a:ext uri="{FF2B5EF4-FFF2-40B4-BE49-F238E27FC236}">
                    <a16:creationId xmlns:a16="http://schemas.microsoft.com/office/drawing/2014/main" id="{CF748B10-7EE5-4461-B418-AA5050D209A2}"/>
                  </a:ext>
                </a:extLst>
              </p:cNvPr>
              <p:cNvSpPr>
                <a:spLocks/>
              </p:cNvSpPr>
              <p:nvPr/>
            </p:nvSpPr>
            <p:spPr bwMode="auto">
              <a:xfrm>
                <a:off x="265" y="1819"/>
                <a:ext cx="594" cy="325"/>
              </a:xfrm>
              <a:custGeom>
                <a:avLst/>
                <a:gdLst/>
                <a:ahLst/>
                <a:cxnLst>
                  <a:cxn ang="0">
                    <a:pos x="101" y="0"/>
                  </a:cxn>
                  <a:cxn ang="0">
                    <a:pos x="0" y="226"/>
                  </a:cxn>
                  <a:cxn ang="0">
                    <a:pos x="94" y="341"/>
                  </a:cxn>
                  <a:cxn ang="0">
                    <a:pos x="261" y="695"/>
                  </a:cxn>
                  <a:cxn ang="0">
                    <a:pos x="562" y="1078"/>
                  </a:cxn>
                  <a:cxn ang="0">
                    <a:pos x="445" y="1236"/>
                  </a:cxn>
                  <a:cxn ang="0">
                    <a:pos x="652" y="1266"/>
                  </a:cxn>
                  <a:cxn ang="0">
                    <a:pos x="828" y="1316"/>
                  </a:cxn>
                  <a:cxn ang="0">
                    <a:pos x="947" y="1415"/>
                  </a:cxn>
                  <a:cxn ang="0">
                    <a:pos x="1060" y="1585"/>
                  </a:cxn>
                  <a:cxn ang="0">
                    <a:pos x="1508" y="1565"/>
                  </a:cxn>
                  <a:cxn ang="0">
                    <a:pos x="1828" y="1284"/>
                  </a:cxn>
                  <a:cxn ang="0">
                    <a:pos x="1887" y="1435"/>
                  </a:cxn>
                  <a:cxn ang="0">
                    <a:pos x="1813" y="1570"/>
                  </a:cxn>
                  <a:cxn ang="0">
                    <a:pos x="1847" y="2049"/>
                  </a:cxn>
                  <a:cxn ang="0">
                    <a:pos x="2004" y="2164"/>
                  </a:cxn>
                  <a:cxn ang="0">
                    <a:pos x="2187" y="2089"/>
                  </a:cxn>
                  <a:cxn ang="0">
                    <a:pos x="2420" y="2085"/>
                  </a:cxn>
                  <a:cxn ang="0">
                    <a:pos x="2674" y="2094"/>
                  </a:cxn>
                  <a:cxn ang="0">
                    <a:pos x="2880" y="2199"/>
                  </a:cxn>
                  <a:cxn ang="0">
                    <a:pos x="3052" y="2164"/>
                  </a:cxn>
                  <a:cxn ang="0">
                    <a:pos x="3279" y="1939"/>
                  </a:cxn>
                  <a:cxn ang="0">
                    <a:pos x="3451" y="1944"/>
                  </a:cxn>
                  <a:cxn ang="0">
                    <a:pos x="3775" y="1705"/>
                  </a:cxn>
                  <a:cxn ang="0">
                    <a:pos x="3967" y="1540"/>
                  </a:cxn>
                  <a:cxn ang="0">
                    <a:pos x="3893" y="1435"/>
                  </a:cxn>
                  <a:cxn ang="0">
                    <a:pos x="3627" y="1346"/>
                  </a:cxn>
                  <a:cxn ang="0">
                    <a:pos x="2801" y="956"/>
                  </a:cxn>
                  <a:cxn ang="0">
                    <a:pos x="2299" y="718"/>
                  </a:cxn>
                  <a:cxn ang="0">
                    <a:pos x="2063" y="538"/>
                  </a:cxn>
                  <a:cxn ang="0">
                    <a:pos x="1611" y="448"/>
                  </a:cxn>
                  <a:cxn ang="0">
                    <a:pos x="1006" y="269"/>
                  </a:cxn>
                  <a:cxn ang="0">
                    <a:pos x="868" y="254"/>
                  </a:cxn>
                  <a:cxn ang="0">
                    <a:pos x="101" y="0"/>
                  </a:cxn>
                </a:cxnLst>
                <a:rect l="0" t="0" r="r" b="b"/>
                <a:pathLst>
                  <a:path w="3967" h="2199">
                    <a:moveTo>
                      <a:pt x="101" y="0"/>
                    </a:moveTo>
                    <a:lnTo>
                      <a:pt x="0" y="226"/>
                    </a:lnTo>
                    <a:lnTo>
                      <a:pt x="94" y="341"/>
                    </a:lnTo>
                    <a:lnTo>
                      <a:pt x="261" y="695"/>
                    </a:lnTo>
                    <a:lnTo>
                      <a:pt x="562" y="1078"/>
                    </a:lnTo>
                    <a:lnTo>
                      <a:pt x="445" y="1236"/>
                    </a:lnTo>
                    <a:lnTo>
                      <a:pt x="652" y="1266"/>
                    </a:lnTo>
                    <a:lnTo>
                      <a:pt x="828" y="1316"/>
                    </a:lnTo>
                    <a:lnTo>
                      <a:pt x="947" y="1415"/>
                    </a:lnTo>
                    <a:lnTo>
                      <a:pt x="1060" y="1585"/>
                    </a:lnTo>
                    <a:lnTo>
                      <a:pt x="1508" y="1565"/>
                    </a:lnTo>
                    <a:lnTo>
                      <a:pt x="1828" y="1284"/>
                    </a:lnTo>
                    <a:lnTo>
                      <a:pt x="1887" y="1435"/>
                    </a:lnTo>
                    <a:lnTo>
                      <a:pt x="1813" y="1570"/>
                    </a:lnTo>
                    <a:lnTo>
                      <a:pt x="1847" y="2049"/>
                    </a:lnTo>
                    <a:lnTo>
                      <a:pt x="2004" y="2164"/>
                    </a:lnTo>
                    <a:lnTo>
                      <a:pt x="2187" y="2089"/>
                    </a:lnTo>
                    <a:lnTo>
                      <a:pt x="2420" y="2085"/>
                    </a:lnTo>
                    <a:lnTo>
                      <a:pt x="2674" y="2094"/>
                    </a:lnTo>
                    <a:lnTo>
                      <a:pt x="2880" y="2199"/>
                    </a:lnTo>
                    <a:lnTo>
                      <a:pt x="3052" y="2164"/>
                    </a:lnTo>
                    <a:lnTo>
                      <a:pt x="3279" y="1939"/>
                    </a:lnTo>
                    <a:lnTo>
                      <a:pt x="3451" y="1944"/>
                    </a:lnTo>
                    <a:lnTo>
                      <a:pt x="3775" y="1705"/>
                    </a:lnTo>
                    <a:lnTo>
                      <a:pt x="3967" y="1540"/>
                    </a:lnTo>
                    <a:lnTo>
                      <a:pt x="3893" y="1435"/>
                    </a:lnTo>
                    <a:lnTo>
                      <a:pt x="3627" y="1346"/>
                    </a:lnTo>
                    <a:lnTo>
                      <a:pt x="2801" y="956"/>
                    </a:lnTo>
                    <a:lnTo>
                      <a:pt x="2299" y="718"/>
                    </a:lnTo>
                    <a:lnTo>
                      <a:pt x="2063" y="538"/>
                    </a:lnTo>
                    <a:lnTo>
                      <a:pt x="1611" y="448"/>
                    </a:lnTo>
                    <a:lnTo>
                      <a:pt x="1006" y="269"/>
                    </a:lnTo>
                    <a:lnTo>
                      <a:pt x="868" y="254"/>
                    </a:lnTo>
                    <a:lnTo>
                      <a:pt x="101"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3" name="Freeform 25">
                <a:extLst>
                  <a:ext uri="{FF2B5EF4-FFF2-40B4-BE49-F238E27FC236}">
                    <a16:creationId xmlns:a16="http://schemas.microsoft.com/office/drawing/2014/main" id="{E418B519-2FCD-4084-8728-8B35B3A42E4E}"/>
                  </a:ext>
                </a:extLst>
              </p:cNvPr>
              <p:cNvSpPr>
                <a:spLocks/>
              </p:cNvSpPr>
              <p:nvPr/>
            </p:nvSpPr>
            <p:spPr bwMode="auto">
              <a:xfrm>
                <a:off x="280" y="1053"/>
                <a:ext cx="1429" cy="979"/>
              </a:xfrm>
              <a:custGeom>
                <a:avLst/>
                <a:gdLst/>
                <a:ahLst/>
                <a:cxnLst>
                  <a:cxn ang="0">
                    <a:pos x="2374" y="189"/>
                  </a:cxn>
                  <a:cxn ang="0">
                    <a:pos x="1961" y="208"/>
                  </a:cxn>
                  <a:cxn ang="0">
                    <a:pos x="1713" y="304"/>
                  </a:cxn>
                  <a:cxn ang="0">
                    <a:pos x="1799" y="512"/>
                  </a:cxn>
                  <a:cxn ang="0">
                    <a:pos x="2008" y="572"/>
                  </a:cxn>
                  <a:cxn ang="0">
                    <a:pos x="1941" y="691"/>
                  </a:cxn>
                  <a:cxn ang="0">
                    <a:pos x="1729" y="715"/>
                  </a:cxn>
                  <a:cxn ang="0">
                    <a:pos x="1599" y="927"/>
                  </a:cxn>
                  <a:cxn ang="0">
                    <a:pos x="1811" y="1206"/>
                  </a:cxn>
                  <a:cxn ang="0">
                    <a:pos x="1902" y="1453"/>
                  </a:cxn>
                  <a:cxn ang="0">
                    <a:pos x="1878" y="1693"/>
                  </a:cxn>
                  <a:cxn ang="0">
                    <a:pos x="1559" y="2918"/>
                  </a:cxn>
                  <a:cxn ang="0">
                    <a:pos x="1288" y="2822"/>
                  </a:cxn>
                  <a:cxn ang="0">
                    <a:pos x="1087" y="2938"/>
                  </a:cxn>
                  <a:cxn ang="0">
                    <a:pos x="366" y="3281"/>
                  </a:cxn>
                  <a:cxn ang="0">
                    <a:pos x="240" y="3612"/>
                  </a:cxn>
                  <a:cxn ang="0">
                    <a:pos x="276" y="3852"/>
                  </a:cxn>
                  <a:cxn ang="0">
                    <a:pos x="12" y="4039"/>
                  </a:cxn>
                  <a:cxn ang="0">
                    <a:pos x="619" y="4356"/>
                  </a:cxn>
                  <a:cxn ang="0">
                    <a:pos x="1215" y="4512"/>
                  </a:cxn>
                  <a:cxn ang="0">
                    <a:pos x="1764" y="4729"/>
                  </a:cxn>
                  <a:cxn ang="0">
                    <a:pos x="3036" y="5300"/>
                  </a:cxn>
                  <a:cxn ang="0">
                    <a:pos x="3193" y="5120"/>
                  </a:cxn>
                  <a:cxn ang="0">
                    <a:pos x="3708" y="5085"/>
                  </a:cxn>
                  <a:cxn ang="0">
                    <a:pos x="3890" y="4961"/>
                  </a:cxn>
                  <a:cxn ang="0">
                    <a:pos x="4221" y="4905"/>
                  </a:cxn>
                  <a:cxn ang="0">
                    <a:pos x="4280" y="4674"/>
                  </a:cxn>
                  <a:cxn ang="0">
                    <a:pos x="4761" y="4494"/>
                  </a:cxn>
                  <a:cxn ang="0">
                    <a:pos x="4989" y="4701"/>
                  </a:cxn>
                  <a:cxn ang="0">
                    <a:pos x="5233" y="4829"/>
                  </a:cxn>
                  <a:cxn ang="0">
                    <a:pos x="6674" y="4853"/>
                  </a:cxn>
                  <a:cxn ang="0">
                    <a:pos x="6796" y="4123"/>
                  </a:cxn>
                  <a:cxn ang="0">
                    <a:pos x="7635" y="2040"/>
                  </a:cxn>
                  <a:cxn ang="0">
                    <a:pos x="7099" y="1661"/>
                  </a:cxn>
                  <a:cxn ang="0">
                    <a:pos x="6621" y="1291"/>
                  </a:cxn>
                  <a:cxn ang="0">
                    <a:pos x="6548" y="951"/>
                  </a:cxn>
                  <a:cxn ang="0">
                    <a:pos x="6300" y="871"/>
                  </a:cxn>
                  <a:cxn ang="0">
                    <a:pos x="5970" y="955"/>
                  </a:cxn>
                  <a:cxn ang="0">
                    <a:pos x="5895" y="1240"/>
                  </a:cxn>
                  <a:cxn ang="0">
                    <a:pos x="5745" y="1327"/>
                  </a:cxn>
                  <a:cxn ang="0">
                    <a:pos x="5473" y="1190"/>
                  </a:cxn>
                  <a:cxn ang="0">
                    <a:pos x="5341" y="1467"/>
                  </a:cxn>
                  <a:cxn ang="0">
                    <a:pos x="5208" y="1576"/>
                  </a:cxn>
                  <a:cxn ang="0">
                    <a:pos x="4954" y="1338"/>
                  </a:cxn>
                  <a:cxn ang="0">
                    <a:pos x="5013" y="1137"/>
                  </a:cxn>
                  <a:cxn ang="0">
                    <a:pos x="4953" y="577"/>
                  </a:cxn>
                  <a:cxn ang="0">
                    <a:pos x="4822" y="258"/>
                  </a:cxn>
                  <a:cxn ang="0">
                    <a:pos x="4678" y="69"/>
                  </a:cxn>
                  <a:cxn ang="0">
                    <a:pos x="4381" y="78"/>
                  </a:cxn>
                  <a:cxn ang="0">
                    <a:pos x="4246" y="237"/>
                  </a:cxn>
                  <a:cxn ang="0">
                    <a:pos x="4040" y="352"/>
                  </a:cxn>
                  <a:cxn ang="0">
                    <a:pos x="3607" y="687"/>
                  </a:cxn>
                  <a:cxn ang="0">
                    <a:pos x="3497" y="536"/>
                  </a:cxn>
                  <a:cxn ang="0">
                    <a:pos x="3012" y="416"/>
                  </a:cxn>
                  <a:cxn ang="0">
                    <a:pos x="2922" y="256"/>
                  </a:cxn>
                  <a:cxn ang="0">
                    <a:pos x="2804" y="9"/>
                  </a:cxn>
                  <a:cxn ang="0">
                    <a:pos x="2551" y="208"/>
                  </a:cxn>
                </a:cxnLst>
                <a:rect l="0" t="0" r="r" b="b"/>
                <a:pathLst>
                  <a:path w="7635" h="5300">
                    <a:moveTo>
                      <a:pt x="2422" y="79"/>
                    </a:moveTo>
                    <a:lnTo>
                      <a:pt x="2374" y="189"/>
                    </a:lnTo>
                    <a:lnTo>
                      <a:pt x="2143" y="225"/>
                    </a:lnTo>
                    <a:lnTo>
                      <a:pt x="1961" y="208"/>
                    </a:lnTo>
                    <a:lnTo>
                      <a:pt x="1744" y="210"/>
                    </a:lnTo>
                    <a:lnTo>
                      <a:pt x="1713" y="304"/>
                    </a:lnTo>
                    <a:lnTo>
                      <a:pt x="1717" y="464"/>
                    </a:lnTo>
                    <a:lnTo>
                      <a:pt x="1799" y="512"/>
                    </a:lnTo>
                    <a:lnTo>
                      <a:pt x="1961" y="508"/>
                    </a:lnTo>
                    <a:lnTo>
                      <a:pt x="2008" y="572"/>
                    </a:lnTo>
                    <a:lnTo>
                      <a:pt x="2024" y="651"/>
                    </a:lnTo>
                    <a:lnTo>
                      <a:pt x="1941" y="691"/>
                    </a:lnTo>
                    <a:lnTo>
                      <a:pt x="1859" y="663"/>
                    </a:lnTo>
                    <a:lnTo>
                      <a:pt x="1729" y="715"/>
                    </a:lnTo>
                    <a:lnTo>
                      <a:pt x="1610" y="735"/>
                    </a:lnTo>
                    <a:lnTo>
                      <a:pt x="1599" y="927"/>
                    </a:lnTo>
                    <a:lnTo>
                      <a:pt x="1618" y="1106"/>
                    </a:lnTo>
                    <a:lnTo>
                      <a:pt x="1811" y="1206"/>
                    </a:lnTo>
                    <a:lnTo>
                      <a:pt x="1819" y="1338"/>
                    </a:lnTo>
                    <a:lnTo>
                      <a:pt x="1902" y="1453"/>
                    </a:lnTo>
                    <a:lnTo>
                      <a:pt x="1914" y="1561"/>
                    </a:lnTo>
                    <a:lnTo>
                      <a:pt x="1878" y="1693"/>
                    </a:lnTo>
                    <a:lnTo>
                      <a:pt x="1666" y="2842"/>
                    </a:lnTo>
                    <a:lnTo>
                      <a:pt x="1559" y="2918"/>
                    </a:lnTo>
                    <a:lnTo>
                      <a:pt x="1500" y="2810"/>
                    </a:lnTo>
                    <a:lnTo>
                      <a:pt x="1288" y="2822"/>
                    </a:lnTo>
                    <a:lnTo>
                      <a:pt x="1217" y="2902"/>
                    </a:lnTo>
                    <a:lnTo>
                      <a:pt x="1087" y="2938"/>
                    </a:lnTo>
                    <a:lnTo>
                      <a:pt x="803" y="2974"/>
                    </a:lnTo>
                    <a:lnTo>
                      <a:pt x="366" y="3281"/>
                    </a:lnTo>
                    <a:lnTo>
                      <a:pt x="347" y="3480"/>
                    </a:lnTo>
                    <a:lnTo>
                      <a:pt x="240" y="3612"/>
                    </a:lnTo>
                    <a:lnTo>
                      <a:pt x="236" y="3732"/>
                    </a:lnTo>
                    <a:lnTo>
                      <a:pt x="276" y="3852"/>
                    </a:lnTo>
                    <a:lnTo>
                      <a:pt x="122" y="3931"/>
                    </a:lnTo>
                    <a:lnTo>
                      <a:pt x="12" y="4039"/>
                    </a:lnTo>
                    <a:lnTo>
                      <a:pt x="0" y="4151"/>
                    </a:lnTo>
                    <a:lnTo>
                      <a:pt x="619" y="4356"/>
                    </a:lnTo>
                    <a:lnTo>
                      <a:pt x="732" y="4369"/>
                    </a:lnTo>
                    <a:lnTo>
                      <a:pt x="1215" y="4512"/>
                    </a:lnTo>
                    <a:lnTo>
                      <a:pt x="1573" y="4584"/>
                    </a:lnTo>
                    <a:lnTo>
                      <a:pt x="1764" y="4729"/>
                    </a:lnTo>
                    <a:lnTo>
                      <a:pt x="2839" y="5236"/>
                    </a:lnTo>
                    <a:lnTo>
                      <a:pt x="3036" y="5300"/>
                    </a:lnTo>
                    <a:lnTo>
                      <a:pt x="3146" y="5236"/>
                    </a:lnTo>
                    <a:lnTo>
                      <a:pt x="3193" y="5120"/>
                    </a:lnTo>
                    <a:lnTo>
                      <a:pt x="3477" y="5120"/>
                    </a:lnTo>
                    <a:lnTo>
                      <a:pt x="3708" y="5085"/>
                    </a:lnTo>
                    <a:lnTo>
                      <a:pt x="3810" y="5058"/>
                    </a:lnTo>
                    <a:lnTo>
                      <a:pt x="3890" y="4961"/>
                    </a:lnTo>
                    <a:lnTo>
                      <a:pt x="4020" y="4953"/>
                    </a:lnTo>
                    <a:lnTo>
                      <a:pt x="4221" y="4905"/>
                    </a:lnTo>
                    <a:lnTo>
                      <a:pt x="4280" y="4793"/>
                    </a:lnTo>
                    <a:lnTo>
                      <a:pt x="4280" y="4674"/>
                    </a:lnTo>
                    <a:lnTo>
                      <a:pt x="4524" y="4510"/>
                    </a:lnTo>
                    <a:lnTo>
                      <a:pt x="4761" y="4494"/>
                    </a:lnTo>
                    <a:lnTo>
                      <a:pt x="4867" y="4614"/>
                    </a:lnTo>
                    <a:lnTo>
                      <a:pt x="4989" y="4701"/>
                    </a:lnTo>
                    <a:lnTo>
                      <a:pt x="5139" y="4889"/>
                    </a:lnTo>
                    <a:lnTo>
                      <a:pt x="5233" y="4829"/>
                    </a:lnTo>
                    <a:lnTo>
                      <a:pt x="5363" y="4857"/>
                    </a:lnTo>
                    <a:lnTo>
                      <a:pt x="6674" y="4853"/>
                    </a:lnTo>
                    <a:lnTo>
                      <a:pt x="6808" y="4235"/>
                    </a:lnTo>
                    <a:lnTo>
                      <a:pt x="6796" y="4123"/>
                    </a:lnTo>
                    <a:lnTo>
                      <a:pt x="6698" y="4015"/>
                    </a:lnTo>
                    <a:lnTo>
                      <a:pt x="7635" y="2040"/>
                    </a:lnTo>
                    <a:lnTo>
                      <a:pt x="7348" y="1777"/>
                    </a:lnTo>
                    <a:lnTo>
                      <a:pt x="7099" y="1661"/>
                    </a:lnTo>
                    <a:lnTo>
                      <a:pt x="6863" y="1541"/>
                    </a:lnTo>
                    <a:lnTo>
                      <a:pt x="6621" y="1291"/>
                    </a:lnTo>
                    <a:lnTo>
                      <a:pt x="6521" y="1046"/>
                    </a:lnTo>
                    <a:lnTo>
                      <a:pt x="6548" y="951"/>
                    </a:lnTo>
                    <a:lnTo>
                      <a:pt x="6531" y="853"/>
                    </a:lnTo>
                    <a:lnTo>
                      <a:pt x="6300" y="871"/>
                    </a:lnTo>
                    <a:lnTo>
                      <a:pt x="6085" y="859"/>
                    </a:lnTo>
                    <a:lnTo>
                      <a:pt x="5970" y="955"/>
                    </a:lnTo>
                    <a:lnTo>
                      <a:pt x="5908" y="1093"/>
                    </a:lnTo>
                    <a:lnTo>
                      <a:pt x="5895" y="1240"/>
                    </a:lnTo>
                    <a:lnTo>
                      <a:pt x="5839" y="1334"/>
                    </a:lnTo>
                    <a:lnTo>
                      <a:pt x="5745" y="1327"/>
                    </a:lnTo>
                    <a:lnTo>
                      <a:pt x="5601" y="1194"/>
                    </a:lnTo>
                    <a:lnTo>
                      <a:pt x="5473" y="1190"/>
                    </a:lnTo>
                    <a:lnTo>
                      <a:pt x="5352" y="1332"/>
                    </a:lnTo>
                    <a:lnTo>
                      <a:pt x="5341" y="1467"/>
                    </a:lnTo>
                    <a:lnTo>
                      <a:pt x="5329" y="1585"/>
                    </a:lnTo>
                    <a:lnTo>
                      <a:pt x="5208" y="1576"/>
                    </a:lnTo>
                    <a:lnTo>
                      <a:pt x="5131" y="1447"/>
                    </a:lnTo>
                    <a:lnTo>
                      <a:pt x="4954" y="1338"/>
                    </a:lnTo>
                    <a:lnTo>
                      <a:pt x="5025" y="1237"/>
                    </a:lnTo>
                    <a:lnTo>
                      <a:pt x="5013" y="1137"/>
                    </a:lnTo>
                    <a:lnTo>
                      <a:pt x="4920" y="999"/>
                    </a:lnTo>
                    <a:lnTo>
                      <a:pt x="4953" y="577"/>
                    </a:lnTo>
                    <a:lnTo>
                      <a:pt x="4914" y="416"/>
                    </a:lnTo>
                    <a:lnTo>
                      <a:pt x="4822" y="258"/>
                    </a:lnTo>
                    <a:lnTo>
                      <a:pt x="4834" y="129"/>
                    </a:lnTo>
                    <a:lnTo>
                      <a:pt x="4678" y="69"/>
                    </a:lnTo>
                    <a:lnTo>
                      <a:pt x="4560" y="0"/>
                    </a:lnTo>
                    <a:lnTo>
                      <a:pt x="4381" y="78"/>
                    </a:lnTo>
                    <a:lnTo>
                      <a:pt x="4290" y="91"/>
                    </a:lnTo>
                    <a:lnTo>
                      <a:pt x="4246" y="237"/>
                    </a:lnTo>
                    <a:lnTo>
                      <a:pt x="4134" y="340"/>
                    </a:lnTo>
                    <a:lnTo>
                      <a:pt x="4040" y="352"/>
                    </a:lnTo>
                    <a:lnTo>
                      <a:pt x="3890" y="424"/>
                    </a:lnTo>
                    <a:lnTo>
                      <a:pt x="3607" y="687"/>
                    </a:lnTo>
                    <a:lnTo>
                      <a:pt x="3579" y="568"/>
                    </a:lnTo>
                    <a:lnTo>
                      <a:pt x="3497" y="536"/>
                    </a:lnTo>
                    <a:lnTo>
                      <a:pt x="3272" y="643"/>
                    </a:lnTo>
                    <a:lnTo>
                      <a:pt x="3012" y="416"/>
                    </a:lnTo>
                    <a:lnTo>
                      <a:pt x="2898" y="416"/>
                    </a:lnTo>
                    <a:lnTo>
                      <a:pt x="2922" y="256"/>
                    </a:lnTo>
                    <a:lnTo>
                      <a:pt x="2847" y="177"/>
                    </a:lnTo>
                    <a:lnTo>
                      <a:pt x="2804" y="9"/>
                    </a:lnTo>
                    <a:lnTo>
                      <a:pt x="2647" y="91"/>
                    </a:lnTo>
                    <a:lnTo>
                      <a:pt x="2551" y="208"/>
                    </a:lnTo>
                    <a:lnTo>
                      <a:pt x="2422" y="7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4" name="Freeform 26">
                <a:extLst>
                  <a:ext uri="{FF2B5EF4-FFF2-40B4-BE49-F238E27FC236}">
                    <a16:creationId xmlns:a16="http://schemas.microsoft.com/office/drawing/2014/main" id="{A9D0BCE8-AE19-4ECC-A2A6-FE0504DD2FC7}"/>
                  </a:ext>
                </a:extLst>
              </p:cNvPr>
              <p:cNvSpPr>
                <a:spLocks/>
              </p:cNvSpPr>
              <p:nvPr/>
            </p:nvSpPr>
            <p:spPr bwMode="auto">
              <a:xfrm>
                <a:off x="1274" y="1817"/>
                <a:ext cx="928" cy="895"/>
              </a:xfrm>
              <a:custGeom>
                <a:avLst/>
                <a:gdLst/>
                <a:ahLst/>
                <a:cxnLst>
                  <a:cxn ang="0">
                    <a:pos x="492" y="2993"/>
                  </a:cxn>
                  <a:cxn ang="0">
                    <a:pos x="551" y="3304"/>
                  </a:cxn>
                  <a:cxn ang="0">
                    <a:pos x="440" y="3532"/>
                  </a:cxn>
                  <a:cxn ang="0">
                    <a:pos x="578" y="3998"/>
                  </a:cxn>
                  <a:cxn ang="0">
                    <a:pos x="1319" y="4223"/>
                  </a:cxn>
                  <a:cxn ang="0">
                    <a:pos x="1453" y="4569"/>
                  </a:cxn>
                  <a:cxn ang="0">
                    <a:pos x="1626" y="4700"/>
                  </a:cxn>
                  <a:cxn ang="0">
                    <a:pos x="1880" y="4700"/>
                  </a:cxn>
                  <a:cxn ang="0">
                    <a:pos x="2126" y="4523"/>
                  </a:cxn>
                  <a:cxn ang="0">
                    <a:pos x="2410" y="4477"/>
                  </a:cxn>
                  <a:cxn ang="0">
                    <a:pos x="2693" y="4700"/>
                  </a:cxn>
                  <a:cxn ang="0">
                    <a:pos x="2961" y="4597"/>
                  </a:cxn>
                  <a:cxn ang="0">
                    <a:pos x="3177" y="4617"/>
                  </a:cxn>
                  <a:cxn ang="0">
                    <a:pos x="3320" y="4561"/>
                  </a:cxn>
                  <a:cxn ang="0">
                    <a:pos x="3209" y="4760"/>
                  </a:cxn>
                  <a:cxn ang="0">
                    <a:pos x="3425" y="4832"/>
                  </a:cxn>
                  <a:cxn ang="0">
                    <a:pos x="3544" y="4641"/>
                  </a:cxn>
                  <a:cxn ang="0">
                    <a:pos x="3610" y="4429"/>
                  </a:cxn>
                  <a:cxn ang="0">
                    <a:pos x="3752" y="4245"/>
                  </a:cxn>
                  <a:cxn ang="0">
                    <a:pos x="3953" y="3862"/>
                  </a:cxn>
                  <a:cxn ang="0">
                    <a:pos x="4213" y="3695"/>
                  </a:cxn>
                  <a:cxn ang="0">
                    <a:pos x="4453" y="3483"/>
                  </a:cxn>
                  <a:cxn ang="0">
                    <a:pos x="4544" y="3184"/>
                  </a:cxn>
                  <a:cxn ang="0">
                    <a:pos x="4626" y="2969"/>
                  </a:cxn>
                  <a:cxn ang="0">
                    <a:pos x="4796" y="2574"/>
                  </a:cxn>
                  <a:cxn ang="0">
                    <a:pos x="4744" y="2346"/>
                  </a:cxn>
                  <a:cxn ang="0">
                    <a:pos x="4851" y="1415"/>
                  </a:cxn>
                  <a:cxn ang="0">
                    <a:pos x="2725" y="1073"/>
                  </a:cxn>
                  <a:cxn ang="0">
                    <a:pos x="1937" y="834"/>
                  </a:cxn>
                  <a:cxn ang="0">
                    <a:pos x="1732" y="491"/>
                  </a:cxn>
                  <a:cxn ang="0">
                    <a:pos x="1496" y="0"/>
                  </a:cxn>
                  <a:cxn ang="0">
                    <a:pos x="1370" y="714"/>
                  </a:cxn>
                  <a:cxn ang="0">
                    <a:pos x="42" y="833"/>
                  </a:cxn>
                  <a:cxn ang="0">
                    <a:pos x="71" y="1211"/>
                  </a:cxn>
                  <a:cxn ang="0">
                    <a:pos x="47" y="1696"/>
                  </a:cxn>
                  <a:cxn ang="0">
                    <a:pos x="506" y="1697"/>
                  </a:cxn>
                  <a:cxn ang="0">
                    <a:pos x="719" y="1774"/>
                  </a:cxn>
                  <a:cxn ang="0">
                    <a:pos x="651" y="1964"/>
                  </a:cxn>
                  <a:cxn ang="0">
                    <a:pos x="744" y="2192"/>
                  </a:cxn>
                  <a:cxn ang="0">
                    <a:pos x="684" y="2516"/>
                  </a:cxn>
                  <a:cxn ang="0">
                    <a:pos x="508" y="2773"/>
                  </a:cxn>
                  <a:cxn ang="0">
                    <a:pos x="375" y="2906"/>
                  </a:cxn>
                </a:cxnLst>
                <a:rect l="0" t="0" r="r" b="b"/>
                <a:pathLst>
                  <a:path w="4961" h="4846">
                    <a:moveTo>
                      <a:pt x="375" y="2906"/>
                    </a:moveTo>
                    <a:lnTo>
                      <a:pt x="492" y="2993"/>
                    </a:lnTo>
                    <a:lnTo>
                      <a:pt x="473" y="3110"/>
                    </a:lnTo>
                    <a:lnTo>
                      <a:pt x="551" y="3304"/>
                    </a:lnTo>
                    <a:lnTo>
                      <a:pt x="563" y="3514"/>
                    </a:lnTo>
                    <a:lnTo>
                      <a:pt x="440" y="3532"/>
                    </a:lnTo>
                    <a:lnTo>
                      <a:pt x="552" y="3677"/>
                    </a:lnTo>
                    <a:lnTo>
                      <a:pt x="578" y="3998"/>
                    </a:lnTo>
                    <a:lnTo>
                      <a:pt x="1401" y="4058"/>
                    </a:lnTo>
                    <a:lnTo>
                      <a:pt x="1319" y="4223"/>
                    </a:lnTo>
                    <a:lnTo>
                      <a:pt x="1343" y="4453"/>
                    </a:lnTo>
                    <a:lnTo>
                      <a:pt x="1453" y="4569"/>
                    </a:lnTo>
                    <a:lnTo>
                      <a:pt x="1581" y="4580"/>
                    </a:lnTo>
                    <a:lnTo>
                      <a:pt x="1626" y="4700"/>
                    </a:lnTo>
                    <a:lnTo>
                      <a:pt x="1739" y="4741"/>
                    </a:lnTo>
                    <a:lnTo>
                      <a:pt x="1880" y="4700"/>
                    </a:lnTo>
                    <a:lnTo>
                      <a:pt x="2007" y="4525"/>
                    </a:lnTo>
                    <a:lnTo>
                      <a:pt x="2126" y="4523"/>
                    </a:lnTo>
                    <a:lnTo>
                      <a:pt x="2256" y="4461"/>
                    </a:lnTo>
                    <a:lnTo>
                      <a:pt x="2410" y="4477"/>
                    </a:lnTo>
                    <a:lnTo>
                      <a:pt x="2516" y="4549"/>
                    </a:lnTo>
                    <a:lnTo>
                      <a:pt x="2693" y="4700"/>
                    </a:lnTo>
                    <a:lnTo>
                      <a:pt x="2843" y="4644"/>
                    </a:lnTo>
                    <a:lnTo>
                      <a:pt x="2961" y="4597"/>
                    </a:lnTo>
                    <a:lnTo>
                      <a:pt x="3067" y="4644"/>
                    </a:lnTo>
                    <a:lnTo>
                      <a:pt x="3177" y="4617"/>
                    </a:lnTo>
                    <a:lnTo>
                      <a:pt x="3284" y="4497"/>
                    </a:lnTo>
                    <a:lnTo>
                      <a:pt x="3320" y="4561"/>
                    </a:lnTo>
                    <a:lnTo>
                      <a:pt x="3293" y="4649"/>
                    </a:lnTo>
                    <a:lnTo>
                      <a:pt x="3209" y="4760"/>
                    </a:lnTo>
                    <a:lnTo>
                      <a:pt x="3272" y="4846"/>
                    </a:lnTo>
                    <a:lnTo>
                      <a:pt x="3425" y="4832"/>
                    </a:lnTo>
                    <a:lnTo>
                      <a:pt x="3553" y="4791"/>
                    </a:lnTo>
                    <a:lnTo>
                      <a:pt x="3544" y="4641"/>
                    </a:lnTo>
                    <a:lnTo>
                      <a:pt x="3551" y="4513"/>
                    </a:lnTo>
                    <a:lnTo>
                      <a:pt x="3610" y="4429"/>
                    </a:lnTo>
                    <a:lnTo>
                      <a:pt x="3614" y="4305"/>
                    </a:lnTo>
                    <a:lnTo>
                      <a:pt x="3752" y="4245"/>
                    </a:lnTo>
                    <a:lnTo>
                      <a:pt x="3823" y="4106"/>
                    </a:lnTo>
                    <a:lnTo>
                      <a:pt x="3953" y="3862"/>
                    </a:lnTo>
                    <a:lnTo>
                      <a:pt x="4099" y="3827"/>
                    </a:lnTo>
                    <a:lnTo>
                      <a:pt x="4213" y="3695"/>
                    </a:lnTo>
                    <a:lnTo>
                      <a:pt x="4288" y="3527"/>
                    </a:lnTo>
                    <a:lnTo>
                      <a:pt x="4453" y="3483"/>
                    </a:lnTo>
                    <a:lnTo>
                      <a:pt x="4536" y="3336"/>
                    </a:lnTo>
                    <a:lnTo>
                      <a:pt x="4544" y="3184"/>
                    </a:lnTo>
                    <a:lnTo>
                      <a:pt x="4618" y="3084"/>
                    </a:lnTo>
                    <a:lnTo>
                      <a:pt x="4626" y="2969"/>
                    </a:lnTo>
                    <a:lnTo>
                      <a:pt x="4725" y="2713"/>
                    </a:lnTo>
                    <a:lnTo>
                      <a:pt x="4796" y="2574"/>
                    </a:lnTo>
                    <a:lnTo>
                      <a:pt x="4701" y="2490"/>
                    </a:lnTo>
                    <a:lnTo>
                      <a:pt x="4744" y="2346"/>
                    </a:lnTo>
                    <a:lnTo>
                      <a:pt x="4709" y="1923"/>
                    </a:lnTo>
                    <a:lnTo>
                      <a:pt x="4851" y="1415"/>
                    </a:lnTo>
                    <a:lnTo>
                      <a:pt x="4961" y="1221"/>
                    </a:lnTo>
                    <a:lnTo>
                      <a:pt x="2725" y="1073"/>
                    </a:lnTo>
                    <a:lnTo>
                      <a:pt x="2126" y="1006"/>
                    </a:lnTo>
                    <a:lnTo>
                      <a:pt x="1937" y="834"/>
                    </a:lnTo>
                    <a:lnTo>
                      <a:pt x="1724" y="654"/>
                    </a:lnTo>
                    <a:lnTo>
                      <a:pt x="1732" y="491"/>
                    </a:lnTo>
                    <a:lnTo>
                      <a:pt x="1650" y="247"/>
                    </a:lnTo>
                    <a:lnTo>
                      <a:pt x="1496" y="0"/>
                    </a:lnTo>
                    <a:lnTo>
                      <a:pt x="1496" y="92"/>
                    </a:lnTo>
                    <a:lnTo>
                      <a:pt x="1370" y="714"/>
                    </a:lnTo>
                    <a:lnTo>
                      <a:pt x="45" y="718"/>
                    </a:lnTo>
                    <a:lnTo>
                      <a:pt x="42" y="833"/>
                    </a:lnTo>
                    <a:lnTo>
                      <a:pt x="0" y="947"/>
                    </a:lnTo>
                    <a:lnTo>
                      <a:pt x="71" y="1211"/>
                    </a:lnTo>
                    <a:lnTo>
                      <a:pt x="20" y="1317"/>
                    </a:lnTo>
                    <a:lnTo>
                      <a:pt x="47" y="1696"/>
                    </a:lnTo>
                    <a:lnTo>
                      <a:pt x="272" y="1699"/>
                    </a:lnTo>
                    <a:lnTo>
                      <a:pt x="506" y="1697"/>
                    </a:lnTo>
                    <a:lnTo>
                      <a:pt x="585" y="1759"/>
                    </a:lnTo>
                    <a:lnTo>
                      <a:pt x="719" y="1774"/>
                    </a:lnTo>
                    <a:lnTo>
                      <a:pt x="743" y="1891"/>
                    </a:lnTo>
                    <a:lnTo>
                      <a:pt x="651" y="1964"/>
                    </a:lnTo>
                    <a:lnTo>
                      <a:pt x="672" y="2072"/>
                    </a:lnTo>
                    <a:lnTo>
                      <a:pt x="744" y="2192"/>
                    </a:lnTo>
                    <a:lnTo>
                      <a:pt x="756" y="2359"/>
                    </a:lnTo>
                    <a:lnTo>
                      <a:pt x="684" y="2516"/>
                    </a:lnTo>
                    <a:lnTo>
                      <a:pt x="587" y="2584"/>
                    </a:lnTo>
                    <a:lnTo>
                      <a:pt x="508" y="2773"/>
                    </a:lnTo>
                    <a:lnTo>
                      <a:pt x="410" y="2812"/>
                    </a:lnTo>
                    <a:lnTo>
                      <a:pt x="375" y="290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5" name="Freeform 27">
                <a:extLst>
                  <a:ext uri="{FF2B5EF4-FFF2-40B4-BE49-F238E27FC236}">
                    <a16:creationId xmlns:a16="http://schemas.microsoft.com/office/drawing/2014/main" id="{4A15B1D0-8780-43CE-9620-3859519E59BA}"/>
                  </a:ext>
                </a:extLst>
              </p:cNvPr>
              <p:cNvSpPr>
                <a:spLocks/>
              </p:cNvSpPr>
              <p:nvPr/>
            </p:nvSpPr>
            <p:spPr bwMode="auto">
              <a:xfrm>
                <a:off x="1493" y="1016"/>
                <a:ext cx="1056" cy="1027"/>
              </a:xfrm>
              <a:custGeom>
                <a:avLst/>
                <a:gdLst/>
                <a:ahLst/>
                <a:cxnLst>
                  <a:cxn ang="0">
                    <a:pos x="0" y="883"/>
                  </a:cxn>
                  <a:cxn ang="0">
                    <a:pos x="147" y="793"/>
                  </a:cxn>
                  <a:cxn ang="0">
                    <a:pos x="364" y="584"/>
                  </a:cxn>
                  <a:cxn ang="0">
                    <a:pos x="615" y="539"/>
                  </a:cxn>
                  <a:cxn ang="0">
                    <a:pos x="911" y="379"/>
                  </a:cxn>
                  <a:cxn ang="0">
                    <a:pos x="1176" y="419"/>
                  </a:cxn>
                  <a:cxn ang="0">
                    <a:pos x="1654" y="449"/>
                  </a:cxn>
                  <a:cxn ang="0">
                    <a:pos x="1595" y="200"/>
                  </a:cxn>
                  <a:cxn ang="0">
                    <a:pos x="1816" y="125"/>
                  </a:cxn>
                  <a:cxn ang="0">
                    <a:pos x="2166" y="0"/>
                  </a:cxn>
                  <a:cxn ang="0">
                    <a:pos x="2334" y="464"/>
                  </a:cxn>
                  <a:cxn ang="0">
                    <a:pos x="2672" y="544"/>
                  </a:cxn>
                  <a:cxn ang="0">
                    <a:pos x="3066" y="778"/>
                  </a:cxn>
                  <a:cxn ang="0">
                    <a:pos x="3233" y="1063"/>
                  </a:cxn>
                  <a:cxn ang="0">
                    <a:pos x="3288" y="1472"/>
                  </a:cxn>
                  <a:cxn ang="0">
                    <a:pos x="3598" y="1981"/>
                  </a:cxn>
                  <a:cxn ang="0">
                    <a:pos x="3885" y="2106"/>
                  </a:cxn>
                  <a:cxn ang="0">
                    <a:pos x="3980" y="2308"/>
                  </a:cxn>
                  <a:cxn ang="0">
                    <a:pos x="4400" y="1996"/>
                  </a:cxn>
                  <a:cxn ang="0">
                    <a:pos x="4483" y="2250"/>
                  </a:cxn>
                  <a:cxn ang="0">
                    <a:pos x="4691" y="2485"/>
                  </a:cxn>
                  <a:cxn ang="0">
                    <a:pos x="4897" y="2530"/>
                  </a:cxn>
                  <a:cxn ang="0">
                    <a:pos x="5311" y="2485"/>
                  </a:cxn>
                  <a:cxn ang="0">
                    <a:pos x="5267" y="2774"/>
                  </a:cxn>
                  <a:cxn ang="0">
                    <a:pos x="5827" y="2066"/>
                  </a:cxn>
                  <a:cxn ang="0">
                    <a:pos x="6108" y="1846"/>
                  </a:cxn>
                  <a:cxn ang="0">
                    <a:pos x="6616" y="1981"/>
                  </a:cxn>
                  <a:cxn ang="0">
                    <a:pos x="7053" y="2101"/>
                  </a:cxn>
                  <a:cxn ang="0">
                    <a:pos x="6713" y="3263"/>
                  </a:cxn>
                  <a:cxn ang="0">
                    <a:pos x="6329" y="3867"/>
                  </a:cxn>
                  <a:cxn ang="0">
                    <a:pos x="5758" y="4351"/>
                  </a:cxn>
                  <a:cxn ang="0">
                    <a:pos x="5792" y="4492"/>
                  </a:cxn>
                  <a:cxn ang="0">
                    <a:pos x="5827" y="4691"/>
                  </a:cxn>
                  <a:cxn ang="0">
                    <a:pos x="5729" y="4970"/>
                  </a:cxn>
                  <a:cxn ang="0">
                    <a:pos x="5299" y="5320"/>
                  </a:cxn>
                  <a:cxn ang="0">
                    <a:pos x="5227" y="5702"/>
                  </a:cxn>
                  <a:cxn ang="0">
                    <a:pos x="5117" y="6363"/>
                  </a:cxn>
                  <a:cxn ang="0">
                    <a:pos x="4823" y="6662"/>
                  </a:cxn>
                  <a:cxn ang="0">
                    <a:pos x="1949" y="6765"/>
                  </a:cxn>
                  <a:cxn ang="0">
                    <a:pos x="694" y="6231"/>
                  </a:cxn>
                  <a:cxn ang="0">
                    <a:pos x="600" y="5732"/>
                  </a:cxn>
                  <a:cxn ang="0">
                    <a:pos x="276" y="5259"/>
                  </a:cxn>
                  <a:cxn ang="0">
                    <a:pos x="1092" y="2475"/>
                  </a:cxn>
                  <a:cxn ang="0">
                    <a:pos x="177" y="1861"/>
                  </a:cxn>
                  <a:cxn ang="0">
                    <a:pos x="89" y="1437"/>
                  </a:cxn>
                </a:cxnLst>
                <a:rect l="0" t="0" r="r" b="b"/>
                <a:pathLst>
                  <a:path w="7053" h="6948">
                    <a:moveTo>
                      <a:pt x="69" y="1321"/>
                    </a:moveTo>
                    <a:lnTo>
                      <a:pt x="0" y="883"/>
                    </a:lnTo>
                    <a:lnTo>
                      <a:pt x="40" y="768"/>
                    </a:lnTo>
                    <a:lnTo>
                      <a:pt x="147" y="793"/>
                    </a:lnTo>
                    <a:lnTo>
                      <a:pt x="305" y="739"/>
                    </a:lnTo>
                    <a:lnTo>
                      <a:pt x="364" y="584"/>
                    </a:lnTo>
                    <a:lnTo>
                      <a:pt x="516" y="634"/>
                    </a:lnTo>
                    <a:lnTo>
                      <a:pt x="615" y="539"/>
                    </a:lnTo>
                    <a:lnTo>
                      <a:pt x="782" y="499"/>
                    </a:lnTo>
                    <a:lnTo>
                      <a:pt x="911" y="379"/>
                    </a:lnTo>
                    <a:lnTo>
                      <a:pt x="1034" y="359"/>
                    </a:lnTo>
                    <a:lnTo>
                      <a:pt x="1176" y="419"/>
                    </a:lnTo>
                    <a:lnTo>
                      <a:pt x="1314" y="374"/>
                    </a:lnTo>
                    <a:lnTo>
                      <a:pt x="1654" y="449"/>
                    </a:lnTo>
                    <a:lnTo>
                      <a:pt x="1699" y="319"/>
                    </a:lnTo>
                    <a:lnTo>
                      <a:pt x="1595" y="200"/>
                    </a:lnTo>
                    <a:lnTo>
                      <a:pt x="1679" y="80"/>
                    </a:lnTo>
                    <a:lnTo>
                      <a:pt x="1816" y="125"/>
                    </a:lnTo>
                    <a:lnTo>
                      <a:pt x="2022" y="105"/>
                    </a:lnTo>
                    <a:lnTo>
                      <a:pt x="2166" y="0"/>
                    </a:lnTo>
                    <a:lnTo>
                      <a:pt x="2334" y="95"/>
                    </a:lnTo>
                    <a:lnTo>
                      <a:pt x="2334" y="464"/>
                    </a:lnTo>
                    <a:lnTo>
                      <a:pt x="2496" y="479"/>
                    </a:lnTo>
                    <a:lnTo>
                      <a:pt x="2672" y="544"/>
                    </a:lnTo>
                    <a:lnTo>
                      <a:pt x="2835" y="674"/>
                    </a:lnTo>
                    <a:lnTo>
                      <a:pt x="3066" y="778"/>
                    </a:lnTo>
                    <a:lnTo>
                      <a:pt x="3071" y="978"/>
                    </a:lnTo>
                    <a:lnTo>
                      <a:pt x="3233" y="1063"/>
                    </a:lnTo>
                    <a:lnTo>
                      <a:pt x="3205" y="1242"/>
                    </a:lnTo>
                    <a:lnTo>
                      <a:pt x="3288" y="1472"/>
                    </a:lnTo>
                    <a:lnTo>
                      <a:pt x="3455" y="1607"/>
                    </a:lnTo>
                    <a:lnTo>
                      <a:pt x="3598" y="1981"/>
                    </a:lnTo>
                    <a:lnTo>
                      <a:pt x="3731" y="2131"/>
                    </a:lnTo>
                    <a:lnTo>
                      <a:pt x="3885" y="2106"/>
                    </a:lnTo>
                    <a:lnTo>
                      <a:pt x="3868" y="2250"/>
                    </a:lnTo>
                    <a:lnTo>
                      <a:pt x="3980" y="2308"/>
                    </a:lnTo>
                    <a:lnTo>
                      <a:pt x="4205" y="2162"/>
                    </a:lnTo>
                    <a:lnTo>
                      <a:pt x="4400" y="1996"/>
                    </a:lnTo>
                    <a:lnTo>
                      <a:pt x="4482" y="2057"/>
                    </a:lnTo>
                    <a:lnTo>
                      <a:pt x="4483" y="2250"/>
                    </a:lnTo>
                    <a:lnTo>
                      <a:pt x="4562" y="2470"/>
                    </a:lnTo>
                    <a:lnTo>
                      <a:pt x="4691" y="2485"/>
                    </a:lnTo>
                    <a:lnTo>
                      <a:pt x="4739" y="2560"/>
                    </a:lnTo>
                    <a:lnTo>
                      <a:pt x="4897" y="2530"/>
                    </a:lnTo>
                    <a:lnTo>
                      <a:pt x="5074" y="2530"/>
                    </a:lnTo>
                    <a:lnTo>
                      <a:pt x="5311" y="2485"/>
                    </a:lnTo>
                    <a:lnTo>
                      <a:pt x="5192" y="2754"/>
                    </a:lnTo>
                    <a:lnTo>
                      <a:pt x="5267" y="2774"/>
                    </a:lnTo>
                    <a:lnTo>
                      <a:pt x="5562" y="2370"/>
                    </a:lnTo>
                    <a:lnTo>
                      <a:pt x="5827" y="2066"/>
                    </a:lnTo>
                    <a:lnTo>
                      <a:pt x="5961" y="1916"/>
                    </a:lnTo>
                    <a:lnTo>
                      <a:pt x="6108" y="1846"/>
                    </a:lnTo>
                    <a:lnTo>
                      <a:pt x="6374" y="1856"/>
                    </a:lnTo>
                    <a:lnTo>
                      <a:pt x="6616" y="1981"/>
                    </a:lnTo>
                    <a:lnTo>
                      <a:pt x="6921" y="2026"/>
                    </a:lnTo>
                    <a:lnTo>
                      <a:pt x="7053" y="2101"/>
                    </a:lnTo>
                    <a:lnTo>
                      <a:pt x="6954" y="2620"/>
                    </a:lnTo>
                    <a:lnTo>
                      <a:pt x="6713" y="3263"/>
                    </a:lnTo>
                    <a:lnTo>
                      <a:pt x="6566" y="3433"/>
                    </a:lnTo>
                    <a:lnTo>
                      <a:pt x="6329" y="3867"/>
                    </a:lnTo>
                    <a:lnTo>
                      <a:pt x="6123" y="4032"/>
                    </a:lnTo>
                    <a:lnTo>
                      <a:pt x="5758" y="4351"/>
                    </a:lnTo>
                    <a:lnTo>
                      <a:pt x="5577" y="4461"/>
                    </a:lnTo>
                    <a:lnTo>
                      <a:pt x="5792" y="4492"/>
                    </a:lnTo>
                    <a:lnTo>
                      <a:pt x="5902" y="4612"/>
                    </a:lnTo>
                    <a:lnTo>
                      <a:pt x="5827" y="4691"/>
                    </a:lnTo>
                    <a:lnTo>
                      <a:pt x="5844" y="4820"/>
                    </a:lnTo>
                    <a:lnTo>
                      <a:pt x="5729" y="4970"/>
                    </a:lnTo>
                    <a:lnTo>
                      <a:pt x="5534" y="5222"/>
                    </a:lnTo>
                    <a:lnTo>
                      <a:pt x="5299" y="5320"/>
                    </a:lnTo>
                    <a:lnTo>
                      <a:pt x="5297" y="5497"/>
                    </a:lnTo>
                    <a:lnTo>
                      <a:pt x="5227" y="5702"/>
                    </a:lnTo>
                    <a:lnTo>
                      <a:pt x="5339" y="5908"/>
                    </a:lnTo>
                    <a:lnTo>
                      <a:pt x="5117" y="6363"/>
                    </a:lnTo>
                    <a:lnTo>
                      <a:pt x="4976" y="6467"/>
                    </a:lnTo>
                    <a:lnTo>
                      <a:pt x="4823" y="6662"/>
                    </a:lnTo>
                    <a:lnTo>
                      <a:pt x="4739" y="6948"/>
                    </a:lnTo>
                    <a:lnTo>
                      <a:pt x="1949" y="6765"/>
                    </a:lnTo>
                    <a:lnTo>
                      <a:pt x="1206" y="6682"/>
                    </a:lnTo>
                    <a:lnTo>
                      <a:pt x="694" y="6231"/>
                    </a:lnTo>
                    <a:lnTo>
                      <a:pt x="704" y="6048"/>
                    </a:lnTo>
                    <a:lnTo>
                      <a:pt x="600" y="5732"/>
                    </a:lnTo>
                    <a:lnTo>
                      <a:pt x="414" y="5434"/>
                    </a:lnTo>
                    <a:lnTo>
                      <a:pt x="276" y="5259"/>
                    </a:lnTo>
                    <a:lnTo>
                      <a:pt x="1447" y="2799"/>
                    </a:lnTo>
                    <a:lnTo>
                      <a:pt x="1092" y="2475"/>
                    </a:lnTo>
                    <a:lnTo>
                      <a:pt x="487" y="2186"/>
                    </a:lnTo>
                    <a:lnTo>
                      <a:pt x="177" y="1861"/>
                    </a:lnTo>
                    <a:lnTo>
                      <a:pt x="54" y="1557"/>
                    </a:lnTo>
                    <a:lnTo>
                      <a:pt x="89" y="1437"/>
                    </a:lnTo>
                    <a:lnTo>
                      <a:pt x="69" y="1321"/>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6" name="Freeform 28">
                <a:extLst>
                  <a:ext uri="{FF2B5EF4-FFF2-40B4-BE49-F238E27FC236}">
                    <a16:creationId xmlns:a16="http://schemas.microsoft.com/office/drawing/2014/main" id="{20B1709A-1941-4B85-9C53-94CB666F60FB}"/>
                  </a:ext>
                </a:extLst>
              </p:cNvPr>
              <p:cNvSpPr>
                <a:spLocks/>
              </p:cNvSpPr>
              <p:nvPr/>
            </p:nvSpPr>
            <p:spPr bwMode="auto">
              <a:xfrm>
                <a:off x="1842" y="872"/>
                <a:ext cx="400" cy="459"/>
              </a:xfrm>
              <a:custGeom>
                <a:avLst/>
                <a:gdLst/>
                <a:ahLst/>
                <a:cxnLst>
                  <a:cxn ang="0">
                    <a:pos x="4" y="1069"/>
                  </a:cxn>
                  <a:cxn ang="0">
                    <a:pos x="134" y="1156"/>
                  </a:cxn>
                  <a:cxn ang="0">
                    <a:pos x="275" y="1247"/>
                  </a:cxn>
                  <a:cxn ang="0">
                    <a:pos x="526" y="1137"/>
                  </a:cxn>
                  <a:cxn ang="0">
                    <a:pos x="734" y="1167"/>
                  </a:cxn>
                  <a:cxn ang="0">
                    <a:pos x="881" y="1197"/>
                  </a:cxn>
                  <a:cxn ang="0">
                    <a:pos x="1014" y="1217"/>
                  </a:cxn>
                  <a:cxn ang="0">
                    <a:pos x="1211" y="1032"/>
                  </a:cxn>
                  <a:cxn ang="0">
                    <a:pos x="1206" y="942"/>
                  </a:cxn>
                  <a:cxn ang="0">
                    <a:pos x="1324" y="679"/>
                  </a:cxn>
                  <a:cxn ang="0">
                    <a:pos x="1698" y="110"/>
                  </a:cxn>
                  <a:cxn ang="0">
                    <a:pos x="1753" y="0"/>
                  </a:cxn>
                  <a:cxn ang="0">
                    <a:pos x="1915" y="95"/>
                  </a:cxn>
                  <a:cxn ang="0">
                    <a:pos x="1959" y="259"/>
                  </a:cxn>
                  <a:cxn ang="0">
                    <a:pos x="2023" y="289"/>
                  </a:cxn>
                  <a:cxn ang="0">
                    <a:pos x="2033" y="614"/>
                  </a:cxn>
                  <a:cxn ang="0">
                    <a:pos x="2165" y="1007"/>
                  </a:cxn>
                  <a:cxn ang="0">
                    <a:pos x="2259" y="1247"/>
                  </a:cxn>
                  <a:cxn ang="0">
                    <a:pos x="2388" y="1436"/>
                  </a:cxn>
                  <a:cxn ang="0">
                    <a:pos x="2550" y="1441"/>
                  </a:cxn>
                  <a:cxn ang="0">
                    <a:pos x="2668" y="1531"/>
                  </a:cxn>
                  <a:cxn ang="0">
                    <a:pos x="2673" y="1676"/>
                  </a:cxn>
                  <a:cxn ang="0">
                    <a:pos x="2584" y="1766"/>
                  </a:cxn>
                  <a:cxn ang="0">
                    <a:pos x="2658" y="1815"/>
                  </a:cxn>
                  <a:cxn ang="0">
                    <a:pos x="2452" y="1995"/>
                  </a:cxn>
                  <a:cxn ang="0">
                    <a:pos x="2254" y="2235"/>
                  </a:cxn>
                  <a:cxn ang="0">
                    <a:pos x="2087" y="2378"/>
                  </a:cxn>
                  <a:cxn ang="0">
                    <a:pos x="1920" y="2488"/>
                  </a:cxn>
                  <a:cxn ang="0">
                    <a:pos x="1817" y="2693"/>
                  </a:cxn>
                  <a:cxn ang="0">
                    <a:pos x="1770" y="2871"/>
                  </a:cxn>
                  <a:cxn ang="0">
                    <a:pos x="1553" y="3077"/>
                  </a:cxn>
                  <a:cxn ang="0">
                    <a:pos x="1403" y="3102"/>
                  </a:cxn>
                  <a:cxn ang="0">
                    <a:pos x="1268" y="2957"/>
                  </a:cxn>
                  <a:cxn ang="0">
                    <a:pos x="1123" y="2573"/>
                  </a:cxn>
                  <a:cxn ang="0">
                    <a:pos x="955" y="2443"/>
                  </a:cxn>
                  <a:cxn ang="0">
                    <a:pos x="871" y="2220"/>
                  </a:cxn>
                  <a:cxn ang="0">
                    <a:pos x="896" y="2035"/>
                  </a:cxn>
                  <a:cxn ang="0">
                    <a:pos x="739" y="1945"/>
                  </a:cxn>
                  <a:cxn ang="0">
                    <a:pos x="727" y="1742"/>
                  </a:cxn>
                  <a:cxn ang="0">
                    <a:pos x="502" y="1651"/>
                  </a:cxn>
                  <a:cxn ang="0">
                    <a:pos x="360" y="1529"/>
                  </a:cxn>
                  <a:cxn ang="0">
                    <a:pos x="169" y="1454"/>
                  </a:cxn>
                  <a:cxn ang="0">
                    <a:pos x="0" y="1436"/>
                  </a:cxn>
                  <a:cxn ang="0">
                    <a:pos x="4" y="1069"/>
                  </a:cxn>
                </a:cxnLst>
                <a:rect l="0" t="0" r="r" b="b"/>
                <a:pathLst>
                  <a:path w="2673" h="3102">
                    <a:moveTo>
                      <a:pt x="4" y="1069"/>
                    </a:moveTo>
                    <a:lnTo>
                      <a:pt x="134" y="1156"/>
                    </a:lnTo>
                    <a:lnTo>
                      <a:pt x="275" y="1247"/>
                    </a:lnTo>
                    <a:lnTo>
                      <a:pt x="526" y="1137"/>
                    </a:lnTo>
                    <a:lnTo>
                      <a:pt x="734" y="1167"/>
                    </a:lnTo>
                    <a:lnTo>
                      <a:pt x="881" y="1197"/>
                    </a:lnTo>
                    <a:lnTo>
                      <a:pt x="1014" y="1217"/>
                    </a:lnTo>
                    <a:lnTo>
                      <a:pt x="1211" y="1032"/>
                    </a:lnTo>
                    <a:lnTo>
                      <a:pt x="1206" y="942"/>
                    </a:lnTo>
                    <a:lnTo>
                      <a:pt x="1324" y="679"/>
                    </a:lnTo>
                    <a:lnTo>
                      <a:pt x="1698" y="110"/>
                    </a:lnTo>
                    <a:lnTo>
                      <a:pt x="1753" y="0"/>
                    </a:lnTo>
                    <a:lnTo>
                      <a:pt x="1915" y="95"/>
                    </a:lnTo>
                    <a:lnTo>
                      <a:pt x="1959" y="259"/>
                    </a:lnTo>
                    <a:lnTo>
                      <a:pt x="2023" y="289"/>
                    </a:lnTo>
                    <a:lnTo>
                      <a:pt x="2033" y="614"/>
                    </a:lnTo>
                    <a:lnTo>
                      <a:pt x="2165" y="1007"/>
                    </a:lnTo>
                    <a:lnTo>
                      <a:pt x="2259" y="1247"/>
                    </a:lnTo>
                    <a:lnTo>
                      <a:pt x="2388" y="1436"/>
                    </a:lnTo>
                    <a:lnTo>
                      <a:pt x="2550" y="1441"/>
                    </a:lnTo>
                    <a:lnTo>
                      <a:pt x="2668" y="1531"/>
                    </a:lnTo>
                    <a:lnTo>
                      <a:pt x="2673" y="1676"/>
                    </a:lnTo>
                    <a:lnTo>
                      <a:pt x="2584" y="1766"/>
                    </a:lnTo>
                    <a:lnTo>
                      <a:pt x="2658" y="1815"/>
                    </a:lnTo>
                    <a:lnTo>
                      <a:pt x="2452" y="1995"/>
                    </a:lnTo>
                    <a:lnTo>
                      <a:pt x="2254" y="2235"/>
                    </a:lnTo>
                    <a:lnTo>
                      <a:pt x="2087" y="2378"/>
                    </a:lnTo>
                    <a:lnTo>
                      <a:pt x="1920" y="2488"/>
                    </a:lnTo>
                    <a:lnTo>
                      <a:pt x="1817" y="2693"/>
                    </a:lnTo>
                    <a:lnTo>
                      <a:pt x="1770" y="2871"/>
                    </a:lnTo>
                    <a:lnTo>
                      <a:pt x="1553" y="3077"/>
                    </a:lnTo>
                    <a:lnTo>
                      <a:pt x="1403" y="3102"/>
                    </a:lnTo>
                    <a:lnTo>
                      <a:pt x="1268" y="2957"/>
                    </a:lnTo>
                    <a:lnTo>
                      <a:pt x="1123" y="2573"/>
                    </a:lnTo>
                    <a:lnTo>
                      <a:pt x="955" y="2443"/>
                    </a:lnTo>
                    <a:lnTo>
                      <a:pt x="871" y="2220"/>
                    </a:lnTo>
                    <a:lnTo>
                      <a:pt x="896" y="2035"/>
                    </a:lnTo>
                    <a:lnTo>
                      <a:pt x="739" y="1945"/>
                    </a:lnTo>
                    <a:lnTo>
                      <a:pt x="727" y="1742"/>
                    </a:lnTo>
                    <a:lnTo>
                      <a:pt x="502" y="1651"/>
                    </a:lnTo>
                    <a:lnTo>
                      <a:pt x="360" y="1529"/>
                    </a:lnTo>
                    <a:lnTo>
                      <a:pt x="169" y="1454"/>
                    </a:lnTo>
                    <a:lnTo>
                      <a:pt x="0" y="1436"/>
                    </a:lnTo>
                    <a:lnTo>
                      <a:pt x="4" y="106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7" name="Freeform 29">
                <a:extLst>
                  <a:ext uri="{FF2B5EF4-FFF2-40B4-BE49-F238E27FC236}">
                    <a16:creationId xmlns:a16="http://schemas.microsoft.com/office/drawing/2014/main" id="{69C16214-A1AB-49D2-A750-A4230B6E7FA6}"/>
                  </a:ext>
                </a:extLst>
              </p:cNvPr>
              <p:cNvSpPr>
                <a:spLocks/>
              </p:cNvSpPr>
              <p:nvPr/>
            </p:nvSpPr>
            <p:spPr bwMode="auto">
              <a:xfrm>
                <a:off x="2072" y="1236"/>
                <a:ext cx="289" cy="148"/>
              </a:xfrm>
              <a:custGeom>
                <a:avLst/>
                <a:gdLst/>
                <a:ahLst/>
                <a:cxnLst>
                  <a:cxn ang="0">
                    <a:pos x="1931" y="105"/>
                  </a:cxn>
                  <a:cxn ang="0">
                    <a:pos x="1700" y="120"/>
                  </a:cxn>
                  <a:cxn ang="0">
                    <a:pos x="1271" y="135"/>
                  </a:cxn>
                  <a:cxn ang="0">
                    <a:pos x="1060" y="40"/>
                  </a:cxn>
                  <a:cxn ang="0">
                    <a:pos x="839" y="55"/>
                  </a:cxn>
                  <a:cxn ang="0">
                    <a:pos x="740" y="190"/>
                  </a:cxn>
                  <a:cxn ang="0">
                    <a:pos x="735" y="309"/>
                  </a:cxn>
                  <a:cxn ang="0">
                    <a:pos x="632" y="359"/>
                  </a:cxn>
                  <a:cxn ang="0">
                    <a:pos x="484" y="389"/>
                  </a:cxn>
                  <a:cxn ang="0">
                    <a:pos x="519" y="299"/>
                  </a:cxn>
                  <a:cxn ang="0">
                    <a:pos x="607" y="240"/>
                  </a:cxn>
                  <a:cxn ang="0">
                    <a:pos x="710" y="45"/>
                  </a:cxn>
                  <a:cxn ang="0">
                    <a:pos x="588" y="0"/>
                  </a:cxn>
                  <a:cxn ang="0">
                    <a:pos x="514" y="120"/>
                  </a:cxn>
                  <a:cxn ang="0">
                    <a:pos x="416" y="279"/>
                  </a:cxn>
                  <a:cxn ang="0">
                    <a:pos x="281" y="242"/>
                  </a:cxn>
                  <a:cxn ang="0">
                    <a:pos x="234" y="410"/>
                  </a:cxn>
                  <a:cxn ang="0">
                    <a:pos x="18" y="617"/>
                  </a:cxn>
                  <a:cxn ang="0">
                    <a:pos x="0" y="763"/>
                  </a:cxn>
                  <a:cxn ang="0">
                    <a:pos x="110" y="821"/>
                  </a:cxn>
                  <a:cxn ang="0">
                    <a:pos x="327" y="683"/>
                  </a:cxn>
                  <a:cxn ang="0">
                    <a:pos x="533" y="508"/>
                  </a:cxn>
                  <a:cxn ang="0">
                    <a:pos x="614" y="572"/>
                  </a:cxn>
                  <a:cxn ang="0">
                    <a:pos x="617" y="757"/>
                  </a:cxn>
                  <a:cxn ang="0">
                    <a:pos x="695" y="982"/>
                  </a:cxn>
                  <a:cxn ang="0">
                    <a:pos x="829" y="997"/>
                  </a:cxn>
                  <a:cxn ang="0">
                    <a:pos x="1060" y="927"/>
                  </a:cxn>
                  <a:cxn ang="0">
                    <a:pos x="1198" y="1002"/>
                  </a:cxn>
                  <a:cxn ang="0">
                    <a:pos x="1405" y="877"/>
                  </a:cxn>
                  <a:cxn ang="0">
                    <a:pos x="1670" y="807"/>
                  </a:cxn>
                  <a:cxn ang="0">
                    <a:pos x="1832" y="538"/>
                  </a:cxn>
                  <a:cxn ang="0">
                    <a:pos x="1916" y="444"/>
                  </a:cxn>
                  <a:cxn ang="0">
                    <a:pos x="1921" y="314"/>
                  </a:cxn>
                  <a:cxn ang="0">
                    <a:pos x="1931" y="105"/>
                  </a:cxn>
                </a:cxnLst>
                <a:rect l="0" t="0" r="r" b="b"/>
                <a:pathLst>
                  <a:path w="1931" h="1002">
                    <a:moveTo>
                      <a:pt x="1931" y="105"/>
                    </a:moveTo>
                    <a:lnTo>
                      <a:pt x="1700" y="120"/>
                    </a:lnTo>
                    <a:lnTo>
                      <a:pt x="1271" y="135"/>
                    </a:lnTo>
                    <a:lnTo>
                      <a:pt x="1060" y="40"/>
                    </a:lnTo>
                    <a:lnTo>
                      <a:pt x="839" y="55"/>
                    </a:lnTo>
                    <a:lnTo>
                      <a:pt x="740" y="190"/>
                    </a:lnTo>
                    <a:lnTo>
                      <a:pt x="735" y="309"/>
                    </a:lnTo>
                    <a:lnTo>
                      <a:pt x="632" y="359"/>
                    </a:lnTo>
                    <a:lnTo>
                      <a:pt x="484" y="389"/>
                    </a:lnTo>
                    <a:lnTo>
                      <a:pt x="519" y="299"/>
                    </a:lnTo>
                    <a:lnTo>
                      <a:pt x="607" y="240"/>
                    </a:lnTo>
                    <a:lnTo>
                      <a:pt x="710" y="45"/>
                    </a:lnTo>
                    <a:lnTo>
                      <a:pt x="588" y="0"/>
                    </a:lnTo>
                    <a:lnTo>
                      <a:pt x="514" y="120"/>
                    </a:lnTo>
                    <a:lnTo>
                      <a:pt x="416" y="279"/>
                    </a:lnTo>
                    <a:lnTo>
                      <a:pt x="281" y="242"/>
                    </a:lnTo>
                    <a:lnTo>
                      <a:pt x="234" y="410"/>
                    </a:lnTo>
                    <a:lnTo>
                      <a:pt x="18" y="617"/>
                    </a:lnTo>
                    <a:lnTo>
                      <a:pt x="0" y="763"/>
                    </a:lnTo>
                    <a:lnTo>
                      <a:pt x="110" y="821"/>
                    </a:lnTo>
                    <a:lnTo>
                      <a:pt x="327" y="683"/>
                    </a:lnTo>
                    <a:lnTo>
                      <a:pt x="533" y="508"/>
                    </a:lnTo>
                    <a:lnTo>
                      <a:pt x="614" y="572"/>
                    </a:lnTo>
                    <a:lnTo>
                      <a:pt x="617" y="757"/>
                    </a:lnTo>
                    <a:lnTo>
                      <a:pt x="695" y="982"/>
                    </a:lnTo>
                    <a:lnTo>
                      <a:pt x="829" y="997"/>
                    </a:lnTo>
                    <a:lnTo>
                      <a:pt x="1060" y="927"/>
                    </a:lnTo>
                    <a:lnTo>
                      <a:pt x="1198" y="1002"/>
                    </a:lnTo>
                    <a:lnTo>
                      <a:pt x="1405" y="877"/>
                    </a:lnTo>
                    <a:lnTo>
                      <a:pt x="1670" y="807"/>
                    </a:lnTo>
                    <a:lnTo>
                      <a:pt x="1832" y="538"/>
                    </a:lnTo>
                    <a:lnTo>
                      <a:pt x="1916" y="444"/>
                    </a:lnTo>
                    <a:lnTo>
                      <a:pt x="1921" y="314"/>
                    </a:lnTo>
                    <a:lnTo>
                      <a:pt x="1931" y="105"/>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8" name="Freeform 30">
                <a:extLst>
                  <a:ext uri="{FF2B5EF4-FFF2-40B4-BE49-F238E27FC236}">
                    <a16:creationId xmlns:a16="http://schemas.microsoft.com/office/drawing/2014/main" id="{287C6316-A7E1-47CB-B76A-386045D4343E}"/>
                  </a:ext>
                </a:extLst>
              </p:cNvPr>
              <p:cNvSpPr>
                <a:spLocks/>
              </p:cNvSpPr>
              <p:nvPr/>
            </p:nvSpPr>
            <p:spPr bwMode="auto">
              <a:xfrm>
                <a:off x="1532" y="2641"/>
                <a:ext cx="572" cy="558"/>
              </a:xfrm>
              <a:custGeom>
                <a:avLst/>
                <a:gdLst/>
                <a:ahLst/>
                <a:cxnLst>
                  <a:cxn ang="0">
                    <a:pos x="303" y="298"/>
                  </a:cxn>
                  <a:cxn ang="0">
                    <a:pos x="409" y="543"/>
                  </a:cxn>
                  <a:cxn ang="0">
                    <a:pos x="305" y="721"/>
                  </a:cxn>
                  <a:cxn ang="0">
                    <a:pos x="216" y="1078"/>
                  </a:cxn>
                  <a:cxn ang="0">
                    <a:pos x="0" y="1411"/>
                  </a:cxn>
                  <a:cxn ang="0">
                    <a:pos x="56" y="1748"/>
                  </a:cxn>
                  <a:cxn ang="0">
                    <a:pos x="171" y="1998"/>
                  </a:cxn>
                  <a:cxn ang="0">
                    <a:pos x="191" y="2218"/>
                  </a:cxn>
                  <a:cxn ang="0">
                    <a:pos x="119" y="2425"/>
                  </a:cxn>
                  <a:cxn ang="0">
                    <a:pos x="74" y="2678"/>
                  </a:cxn>
                  <a:cxn ang="0">
                    <a:pos x="261" y="2723"/>
                  </a:cxn>
                  <a:cxn ang="0">
                    <a:pos x="399" y="2698"/>
                  </a:cxn>
                  <a:cxn ang="0">
                    <a:pos x="709" y="2798"/>
                  </a:cxn>
                  <a:cxn ang="0">
                    <a:pos x="856" y="2698"/>
                  </a:cxn>
                  <a:cxn ang="0">
                    <a:pos x="955" y="2753"/>
                  </a:cxn>
                  <a:cxn ang="0">
                    <a:pos x="1181" y="2783"/>
                  </a:cxn>
                  <a:cxn ang="0">
                    <a:pos x="1283" y="3035"/>
                  </a:cxn>
                  <a:cxn ang="0">
                    <a:pos x="1255" y="3156"/>
                  </a:cxn>
                  <a:cxn ang="0">
                    <a:pos x="1310" y="3381"/>
                  </a:cxn>
                  <a:cxn ang="0">
                    <a:pos x="1338" y="3665"/>
                  </a:cxn>
                  <a:cxn ang="0">
                    <a:pos x="1412" y="3725"/>
                  </a:cxn>
                  <a:cxn ang="0">
                    <a:pos x="1625" y="3685"/>
                  </a:cxn>
                  <a:cxn ang="0">
                    <a:pos x="1801" y="3680"/>
                  </a:cxn>
                  <a:cxn ang="0">
                    <a:pos x="1905" y="3775"/>
                  </a:cxn>
                  <a:cxn ang="0">
                    <a:pos x="2067" y="3655"/>
                  </a:cxn>
                  <a:cxn ang="0">
                    <a:pos x="2126" y="3456"/>
                  </a:cxn>
                  <a:cxn ang="0">
                    <a:pos x="2224" y="3356"/>
                  </a:cxn>
                  <a:cxn ang="0">
                    <a:pos x="2347" y="3116"/>
                  </a:cxn>
                  <a:cxn ang="0">
                    <a:pos x="2688" y="2935"/>
                  </a:cxn>
                  <a:cxn ang="0">
                    <a:pos x="2968" y="2723"/>
                  </a:cxn>
                  <a:cxn ang="0">
                    <a:pos x="3199" y="2384"/>
                  </a:cxn>
                  <a:cxn ang="0">
                    <a:pos x="3469" y="1890"/>
                  </a:cxn>
                  <a:cxn ang="0">
                    <a:pos x="3780" y="1568"/>
                  </a:cxn>
                  <a:cxn ang="0">
                    <a:pos x="3750" y="1426"/>
                  </a:cxn>
                  <a:cxn ang="0">
                    <a:pos x="3819" y="1261"/>
                  </a:cxn>
                  <a:cxn ang="0">
                    <a:pos x="3325" y="1025"/>
                  </a:cxn>
                  <a:cxn ang="0">
                    <a:pos x="3130" y="858"/>
                  </a:cxn>
                  <a:cxn ang="0">
                    <a:pos x="2875" y="870"/>
                  </a:cxn>
                  <a:cxn ang="0">
                    <a:pos x="2818" y="793"/>
                  </a:cxn>
                  <a:cxn ang="0">
                    <a:pos x="2878" y="665"/>
                  </a:cxn>
                  <a:cxn ang="0">
                    <a:pos x="2778" y="610"/>
                  </a:cxn>
                  <a:cxn ang="0">
                    <a:pos x="2713" y="413"/>
                  </a:cxn>
                  <a:cxn ang="0">
                    <a:pos x="2551" y="465"/>
                  </a:cxn>
                  <a:cxn ang="0">
                    <a:pos x="2358" y="480"/>
                  </a:cxn>
                  <a:cxn ang="0">
                    <a:pos x="2283" y="375"/>
                  </a:cxn>
                  <a:cxn ang="0">
                    <a:pos x="2386" y="238"/>
                  </a:cxn>
                  <a:cxn ang="0">
                    <a:pos x="2422" y="129"/>
                  </a:cxn>
                  <a:cxn ang="0">
                    <a:pos x="2376" y="45"/>
                  </a:cxn>
                  <a:cxn ang="0">
                    <a:pos x="2243" y="194"/>
                  </a:cxn>
                  <a:cxn ang="0">
                    <a:pos x="2107" y="230"/>
                  </a:cxn>
                  <a:cxn ang="0">
                    <a:pos x="1977" y="170"/>
                  </a:cxn>
                  <a:cxn ang="0">
                    <a:pos x="1638" y="299"/>
                  </a:cxn>
                  <a:cxn ang="0">
                    <a:pos x="1430" y="119"/>
                  </a:cxn>
                  <a:cxn ang="0">
                    <a:pos x="1286" y="20"/>
                  </a:cxn>
                  <a:cxn ang="0">
                    <a:pos x="1087" y="0"/>
                  </a:cxn>
                  <a:cxn ang="0">
                    <a:pos x="933" y="75"/>
                  </a:cxn>
                  <a:cxn ang="0">
                    <a:pos x="782" y="80"/>
                  </a:cxn>
                  <a:cxn ang="0">
                    <a:pos x="620" y="299"/>
                  </a:cxn>
                  <a:cxn ang="0">
                    <a:pos x="442" y="349"/>
                  </a:cxn>
                  <a:cxn ang="0">
                    <a:pos x="303" y="298"/>
                  </a:cxn>
                </a:cxnLst>
                <a:rect l="0" t="0" r="r" b="b"/>
                <a:pathLst>
                  <a:path w="3819" h="3775">
                    <a:moveTo>
                      <a:pt x="303" y="298"/>
                    </a:moveTo>
                    <a:lnTo>
                      <a:pt x="409" y="543"/>
                    </a:lnTo>
                    <a:lnTo>
                      <a:pt x="305" y="721"/>
                    </a:lnTo>
                    <a:lnTo>
                      <a:pt x="216" y="1078"/>
                    </a:lnTo>
                    <a:lnTo>
                      <a:pt x="0" y="1411"/>
                    </a:lnTo>
                    <a:lnTo>
                      <a:pt x="56" y="1748"/>
                    </a:lnTo>
                    <a:lnTo>
                      <a:pt x="171" y="1998"/>
                    </a:lnTo>
                    <a:lnTo>
                      <a:pt x="191" y="2218"/>
                    </a:lnTo>
                    <a:lnTo>
                      <a:pt x="119" y="2425"/>
                    </a:lnTo>
                    <a:lnTo>
                      <a:pt x="74" y="2678"/>
                    </a:lnTo>
                    <a:lnTo>
                      <a:pt x="261" y="2723"/>
                    </a:lnTo>
                    <a:lnTo>
                      <a:pt x="399" y="2698"/>
                    </a:lnTo>
                    <a:lnTo>
                      <a:pt x="709" y="2798"/>
                    </a:lnTo>
                    <a:lnTo>
                      <a:pt x="856" y="2698"/>
                    </a:lnTo>
                    <a:lnTo>
                      <a:pt x="955" y="2753"/>
                    </a:lnTo>
                    <a:lnTo>
                      <a:pt x="1181" y="2783"/>
                    </a:lnTo>
                    <a:lnTo>
                      <a:pt x="1283" y="3035"/>
                    </a:lnTo>
                    <a:lnTo>
                      <a:pt x="1255" y="3156"/>
                    </a:lnTo>
                    <a:lnTo>
                      <a:pt x="1310" y="3381"/>
                    </a:lnTo>
                    <a:lnTo>
                      <a:pt x="1338" y="3665"/>
                    </a:lnTo>
                    <a:lnTo>
                      <a:pt x="1412" y="3725"/>
                    </a:lnTo>
                    <a:lnTo>
                      <a:pt x="1625" y="3685"/>
                    </a:lnTo>
                    <a:lnTo>
                      <a:pt x="1801" y="3680"/>
                    </a:lnTo>
                    <a:lnTo>
                      <a:pt x="1905" y="3775"/>
                    </a:lnTo>
                    <a:lnTo>
                      <a:pt x="2067" y="3655"/>
                    </a:lnTo>
                    <a:lnTo>
                      <a:pt x="2126" y="3456"/>
                    </a:lnTo>
                    <a:lnTo>
                      <a:pt x="2224" y="3356"/>
                    </a:lnTo>
                    <a:lnTo>
                      <a:pt x="2347" y="3116"/>
                    </a:lnTo>
                    <a:lnTo>
                      <a:pt x="2688" y="2935"/>
                    </a:lnTo>
                    <a:lnTo>
                      <a:pt x="2968" y="2723"/>
                    </a:lnTo>
                    <a:lnTo>
                      <a:pt x="3199" y="2384"/>
                    </a:lnTo>
                    <a:lnTo>
                      <a:pt x="3469" y="1890"/>
                    </a:lnTo>
                    <a:lnTo>
                      <a:pt x="3780" y="1568"/>
                    </a:lnTo>
                    <a:lnTo>
                      <a:pt x="3750" y="1426"/>
                    </a:lnTo>
                    <a:lnTo>
                      <a:pt x="3819" y="1261"/>
                    </a:lnTo>
                    <a:lnTo>
                      <a:pt x="3325" y="1025"/>
                    </a:lnTo>
                    <a:lnTo>
                      <a:pt x="3130" y="858"/>
                    </a:lnTo>
                    <a:lnTo>
                      <a:pt x="2875" y="870"/>
                    </a:lnTo>
                    <a:lnTo>
                      <a:pt x="2818" y="793"/>
                    </a:lnTo>
                    <a:lnTo>
                      <a:pt x="2878" y="665"/>
                    </a:lnTo>
                    <a:lnTo>
                      <a:pt x="2778" y="610"/>
                    </a:lnTo>
                    <a:lnTo>
                      <a:pt x="2713" y="413"/>
                    </a:lnTo>
                    <a:lnTo>
                      <a:pt x="2551" y="465"/>
                    </a:lnTo>
                    <a:lnTo>
                      <a:pt x="2358" y="480"/>
                    </a:lnTo>
                    <a:lnTo>
                      <a:pt x="2283" y="375"/>
                    </a:lnTo>
                    <a:lnTo>
                      <a:pt x="2386" y="238"/>
                    </a:lnTo>
                    <a:lnTo>
                      <a:pt x="2422" y="129"/>
                    </a:lnTo>
                    <a:lnTo>
                      <a:pt x="2376" y="45"/>
                    </a:lnTo>
                    <a:lnTo>
                      <a:pt x="2243" y="194"/>
                    </a:lnTo>
                    <a:lnTo>
                      <a:pt x="2107" y="230"/>
                    </a:lnTo>
                    <a:lnTo>
                      <a:pt x="1977" y="170"/>
                    </a:lnTo>
                    <a:lnTo>
                      <a:pt x="1638" y="299"/>
                    </a:lnTo>
                    <a:lnTo>
                      <a:pt x="1430" y="119"/>
                    </a:lnTo>
                    <a:lnTo>
                      <a:pt x="1286" y="20"/>
                    </a:lnTo>
                    <a:lnTo>
                      <a:pt x="1087" y="0"/>
                    </a:lnTo>
                    <a:lnTo>
                      <a:pt x="933" y="75"/>
                    </a:lnTo>
                    <a:lnTo>
                      <a:pt x="782" y="80"/>
                    </a:lnTo>
                    <a:lnTo>
                      <a:pt x="620" y="299"/>
                    </a:lnTo>
                    <a:lnTo>
                      <a:pt x="442" y="349"/>
                    </a:lnTo>
                    <a:lnTo>
                      <a:pt x="303" y="298"/>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9" name="Freeform 31">
                <a:extLst>
                  <a:ext uri="{FF2B5EF4-FFF2-40B4-BE49-F238E27FC236}">
                    <a16:creationId xmlns:a16="http://schemas.microsoft.com/office/drawing/2014/main" id="{E64A5B25-92DE-4B1B-88EE-CF77A422C59A}"/>
                  </a:ext>
                </a:extLst>
              </p:cNvPr>
              <p:cNvSpPr>
                <a:spLocks/>
              </p:cNvSpPr>
              <p:nvPr/>
            </p:nvSpPr>
            <p:spPr bwMode="auto">
              <a:xfrm>
                <a:off x="1935" y="2858"/>
                <a:ext cx="685" cy="447"/>
              </a:xfrm>
              <a:custGeom>
                <a:avLst/>
                <a:gdLst/>
                <a:ahLst/>
                <a:cxnLst>
                  <a:cxn ang="0">
                    <a:pos x="153" y="1225"/>
                  </a:cxn>
                  <a:cxn ang="0">
                    <a:pos x="614" y="1281"/>
                  </a:cxn>
                  <a:cxn ang="0">
                    <a:pos x="1201" y="1401"/>
                  </a:cxn>
                  <a:cxn ang="0">
                    <a:pos x="1311" y="1712"/>
                  </a:cxn>
                  <a:cxn ang="0">
                    <a:pos x="1451" y="2035"/>
                  </a:cxn>
                  <a:cxn ang="0">
                    <a:pos x="1495" y="2169"/>
                  </a:cxn>
                  <a:cxn ang="0">
                    <a:pos x="1667" y="2277"/>
                  </a:cxn>
                  <a:cxn ang="0">
                    <a:pos x="1781" y="2279"/>
                  </a:cxn>
                  <a:cxn ang="0">
                    <a:pos x="1878" y="2422"/>
                  </a:cxn>
                  <a:cxn ang="0">
                    <a:pos x="2327" y="2095"/>
                  </a:cxn>
                  <a:cxn ang="0">
                    <a:pos x="2807" y="1812"/>
                  </a:cxn>
                  <a:cxn ang="0">
                    <a:pos x="3056" y="1764"/>
                  </a:cxn>
                  <a:cxn ang="0">
                    <a:pos x="3256" y="1656"/>
                  </a:cxn>
                  <a:cxn ang="0">
                    <a:pos x="3390" y="1620"/>
                  </a:cxn>
                  <a:cxn ang="0">
                    <a:pos x="3374" y="1520"/>
                  </a:cxn>
                  <a:cxn ang="0">
                    <a:pos x="3599" y="1524"/>
                  </a:cxn>
                  <a:cxn ang="0">
                    <a:pos x="3603" y="1381"/>
                  </a:cxn>
                  <a:cxn ang="0">
                    <a:pos x="3426" y="1293"/>
                  </a:cxn>
                  <a:cxn ang="0">
                    <a:pos x="3115" y="1305"/>
                  </a:cxn>
                  <a:cxn ang="0">
                    <a:pos x="2895" y="1393"/>
                  </a:cxn>
                  <a:cxn ang="0">
                    <a:pos x="2671" y="1357"/>
                  </a:cxn>
                  <a:cxn ang="0">
                    <a:pos x="2585" y="1187"/>
                  </a:cxn>
                  <a:cxn ang="0">
                    <a:pos x="2701" y="806"/>
                  </a:cxn>
                  <a:cxn ang="0">
                    <a:pos x="2465" y="731"/>
                  </a:cxn>
                  <a:cxn ang="0">
                    <a:pos x="2483" y="409"/>
                  </a:cxn>
                  <a:cxn ang="0">
                    <a:pos x="2327" y="112"/>
                  </a:cxn>
                  <a:cxn ang="0">
                    <a:pos x="1973" y="156"/>
                  </a:cxn>
                  <a:cxn ang="0">
                    <a:pos x="1618" y="219"/>
                  </a:cxn>
                  <a:cxn ang="0">
                    <a:pos x="1272" y="52"/>
                  </a:cxn>
                  <a:cxn ang="0">
                    <a:pos x="874" y="84"/>
                  </a:cxn>
                  <a:cxn ang="0">
                    <a:pos x="407" y="740"/>
                  </a:cxn>
                  <a:cxn ang="0">
                    <a:pos x="0" y="1177"/>
                  </a:cxn>
                </a:cxnLst>
                <a:rect l="0" t="0" r="r" b="b"/>
                <a:pathLst>
                  <a:path w="3661" h="2422">
                    <a:moveTo>
                      <a:pt x="0" y="1177"/>
                    </a:moveTo>
                    <a:lnTo>
                      <a:pt x="153" y="1225"/>
                    </a:lnTo>
                    <a:lnTo>
                      <a:pt x="343" y="1185"/>
                    </a:lnTo>
                    <a:lnTo>
                      <a:pt x="614" y="1281"/>
                    </a:lnTo>
                    <a:lnTo>
                      <a:pt x="803" y="1389"/>
                    </a:lnTo>
                    <a:lnTo>
                      <a:pt x="1201" y="1401"/>
                    </a:lnTo>
                    <a:lnTo>
                      <a:pt x="1333" y="1577"/>
                    </a:lnTo>
                    <a:lnTo>
                      <a:pt x="1311" y="1712"/>
                    </a:lnTo>
                    <a:lnTo>
                      <a:pt x="1390" y="1895"/>
                    </a:lnTo>
                    <a:lnTo>
                      <a:pt x="1451" y="2035"/>
                    </a:lnTo>
                    <a:lnTo>
                      <a:pt x="1407" y="2119"/>
                    </a:lnTo>
                    <a:lnTo>
                      <a:pt x="1495" y="2169"/>
                    </a:lnTo>
                    <a:lnTo>
                      <a:pt x="1731" y="2191"/>
                    </a:lnTo>
                    <a:lnTo>
                      <a:pt x="1667" y="2277"/>
                    </a:lnTo>
                    <a:lnTo>
                      <a:pt x="1691" y="2333"/>
                    </a:lnTo>
                    <a:lnTo>
                      <a:pt x="1781" y="2279"/>
                    </a:lnTo>
                    <a:lnTo>
                      <a:pt x="1839" y="2395"/>
                    </a:lnTo>
                    <a:lnTo>
                      <a:pt x="1878" y="2422"/>
                    </a:lnTo>
                    <a:lnTo>
                      <a:pt x="2099" y="2215"/>
                    </a:lnTo>
                    <a:lnTo>
                      <a:pt x="2327" y="2095"/>
                    </a:lnTo>
                    <a:lnTo>
                      <a:pt x="2465" y="1967"/>
                    </a:lnTo>
                    <a:lnTo>
                      <a:pt x="2807" y="1812"/>
                    </a:lnTo>
                    <a:lnTo>
                      <a:pt x="3000" y="1835"/>
                    </a:lnTo>
                    <a:lnTo>
                      <a:pt x="3056" y="1764"/>
                    </a:lnTo>
                    <a:lnTo>
                      <a:pt x="3174" y="1704"/>
                    </a:lnTo>
                    <a:lnTo>
                      <a:pt x="3256" y="1656"/>
                    </a:lnTo>
                    <a:lnTo>
                      <a:pt x="3367" y="1664"/>
                    </a:lnTo>
                    <a:lnTo>
                      <a:pt x="3390" y="1620"/>
                    </a:lnTo>
                    <a:lnTo>
                      <a:pt x="3339" y="1580"/>
                    </a:lnTo>
                    <a:lnTo>
                      <a:pt x="3374" y="1520"/>
                    </a:lnTo>
                    <a:lnTo>
                      <a:pt x="3493" y="1464"/>
                    </a:lnTo>
                    <a:lnTo>
                      <a:pt x="3599" y="1524"/>
                    </a:lnTo>
                    <a:lnTo>
                      <a:pt x="3661" y="1485"/>
                    </a:lnTo>
                    <a:lnTo>
                      <a:pt x="3603" y="1381"/>
                    </a:lnTo>
                    <a:lnTo>
                      <a:pt x="3516" y="1317"/>
                    </a:lnTo>
                    <a:lnTo>
                      <a:pt x="3426" y="1293"/>
                    </a:lnTo>
                    <a:lnTo>
                      <a:pt x="3343" y="1213"/>
                    </a:lnTo>
                    <a:lnTo>
                      <a:pt x="3115" y="1305"/>
                    </a:lnTo>
                    <a:lnTo>
                      <a:pt x="2961" y="1283"/>
                    </a:lnTo>
                    <a:lnTo>
                      <a:pt x="2895" y="1393"/>
                    </a:lnTo>
                    <a:lnTo>
                      <a:pt x="2773" y="1423"/>
                    </a:lnTo>
                    <a:lnTo>
                      <a:pt x="2671" y="1357"/>
                    </a:lnTo>
                    <a:lnTo>
                      <a:pt x="2681" y="1269"/>
                    </a:lnTo>
                    <a:lnTo>
                      <a:pt x="2585" y="1187"/>
                    </a:lnTo>
                    <a:lnTo>
                      <a:pt x="2622" y="902"/>
                    </a:lnTo>
                    <a:lnTo>
                      <a:pt x="2701" y="806"/>
                    </a:lnTo>
                    <a:lnTo>
                      <a:pt x="2642" y="742"/>
                    </a:lnTo>
                    <a:lnTo>
                      <a:pt x="2465" y="731"/>
                    </a:lnTo>
                    <a:lnTo>
                      <a:pt x="2406" y="515"/>
                    </a:lnTo>
                    <a:lnTo>
                      <a:pt x="2483" y="409"/>
                    </a:lnTo>
                    <a:lnTo>
                      <a:pt x="2406" y="203"/>
                    </a:lnTo>
                    <a:lnTo>
                      <a:pt x="2327" y="112"/>
                    </a:lnTo>
                    <a:lnTo>
                      <a:pt x="2181" y="132"/>
                    </a:lnTo>
                    <a:lnTo>
                      <a:pt x="1973" y="156"/>
                    </a:lnTo>
                    <a:lnTo>
                      <a:pt x="1784" y="156"/>
                    </a:lnTo>
                    <a:lnTo>
                      <a:pt x="1618" y="219"/>
                    </a:lnTo>
                    <a:lnTo>
                      <a:pt x="1508" y="60"/>
                    </a:lnTo>
                    <a:lnTo>
                      <a:pt x="1272" y="52"/>
                    </a:lnTo>
                    <a:lnTo>
                      <a:pt x="1051" y="0"/>
                    </a:lnTo>
                    <a:lnTo>
                      <a:pt x="874" y="84"/>
                    </a:lnTo>
                    <a:lnTo>
                      <a:pt x="622" y="344"/>
                    </a:lnTo>
                    <a:lnTo>
                      <a:pt x="407" y="740"/>
                    </a:lnTo>
                    <a:lnTo>
                      <a:pt x="223" y="1007"/>
                    </a:lnTo>
                    <a:lnTo>
                      <a:pt x="0" y="1177"/>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0" name="Freeform 32">
                <a:extLst>
                  <a:ext uri="{FF2B5EF4-FFF2-40B4-BE49-F238E27FC236}">
                    <a16:creationId xmlns:a16="http://schemas.microsoft.com/office/drawing/2014/main" id="{6E652E34-EE64-47CF-A5FA-505F2D3383C8}"/>
                  </a:ext>
                </a:extLst>
              </p:cNvPr>
              <p:cNvSpPr>
                <a:spLocks/>
              </p:cNvSpPr>
              <p:nvPr/>
            </p:nvSpPr>
            <p:spPr bwMode="auto">
              <a:xfrm>
                <a:off x="1787" y="3075"/>
                <a:ext cx="492" cy="343"/>
              </a:xfrm>
              <a:custGeom>
                <a:avLst/>
                <a:gdLst/>
                <a:ahLst/>
                <a:cxnLst>
                  <a:cxn ang="0">
                    <a:pos x="203" y="839"/>
                  </a:cxn>
                  <a:cxn ang="0">
                    <a:pos x="173" y="954"/>
                  </a:cxn>
                  <a:cxn ang="0">
                    <a:pos x="290" y="1004"/>
                  </a:cxn>
                  <a:cxn ang="0">
                    <a:pos x="246" y="1119"/>
                  </a:cxn>
                  <a:cxn ang="0">
                    <a:pos x="266" y="1244"/>
                  </a:cxn>
                  <a:cxn ang="0">
                    <a:pos x="206" y="1359"/>
                  </a:cxn>
                  <a:cxn ang="0">
                    <a:pos x="241" y="1448"/>
                  </a:cxn>
                  <a:cxn ang="0">
                    <a:pos x="94" y="1542"/>
                  </a:cxn>
                  <a:cxn ang="0">
                    <a:pos x="0" y="1587"/>
                  </a:cxn>
                  <a:cxn ang="0">
                    <a:pos x="0" y="1707"/>
                  </a:cxn>
                  <a:cxn ang="0">
                    <a:pos x="94" y="1722"/>
                  </a:cxn>
                  <a:cxn ang="0">
                    <a:pos x="236" y="1632"/>
                  </a:cxn>
                  <a:cxn ang="0">
                    <a:pos x="384" y="1717"/>
                  </a:cxn>
                  <a:cxn ang="0">
                    <a:pos x="399" y="1897"/>
                  </a:cxn>
                  <a:cxn ang="0">
                    <a:pos x="455" y="2045"/>
                  </a:cxn>
                  <a:cxn ang="0">
                    <a:pos x="718" y="2058"/>
                  </a:cxn>
                  <a:cxn ang="0">
                    <a:pos x="1170" y="2150"/>
                  </a:cxn>
                  <a:cxn ang="0">
                    <a:pos x="1590" y="2320"/>
                  </a:cxn>
                  <a:cxn ang="0">
                    <a:pos x="1703" y="2255"/>
                  </a:cxn>
                  <a:cxn ang="0">
                    <a:pos x="1693" y="2180"/>
                  </a:cxn>
                  <a:cxn ang="0">
                    <a:pos x="1728" y="2080"/>
                  </a:cxn>
                  <a:cxn ang="0">
                    <a:pos x="1885" y="2060"/>
                  </a:cxn>
                  <a:cxn ang="0">
                    <a:pos x="2038" y="1977"/>
                  </a:cxn>
                  <a:cxn ang="0">
                    <a:pos x="2254" y="1957"/>
                  </a:cxn>
                  <a:cxn ang="0">
                    <a:pos x="2452" y="2045"/>
                  </a:cxn>
                  <a:cxn ang="0">
                    <a:pos x="2622" y="2043"/>
                  </a:cxn>
                  <a:cxn ang="0">
                    <a:pos x="2737" y="1956"/>
                  </a:cxn>
                  <a:cxn ang="0">
                    <a:pos x="2919" y="1942"/>
                  </a:cxn>
                  <a:cxn ang="0">
                    <a:pos x="2994" y="2017"/>
                  </a:cxn>
                  <a:cxn ang="0">
                    <a:pos x="3140" y="1767"/>
                  </a:cxn>
                  <a:cxn ang="0">
                    <a:pos x="3037" y="1722"/>
                  </a:cxn>
                  <a:cxn ang="0">
                    <a:pos x="3013" y="1642"/>
                  </a:cxn>
                  <a:cxn ang="0">
                    <a:pos x="3140" y="1642"/>
                  </a:cxn>
                  <a:cxn ang="0">
                    <a:pos x="3184" y="1572"/>
                  </a:cxn>
                  <a:cxn ang="0">
                    <a:pos x="3288" y="1524"/>
                  </a:cxn>
                  <a:cxn ang="0">
                    <a:pos x="3216" y="1380"/>
                  </a:cxn>
                  <a:cxn ang="0">
                    <a:pos x="3105" y="1446"/>
                  </a:cxn>
                  <a:cxn ang="0">
                    <a:pos x="3072" y="1379"/>
                  </a:cxn>
                  <a:cxn ang="0">
                    <a:pos x="3155" y="1269"/>
                  </a:cxn>
                  <a:cxn ang="0">
                    <a:pos x="2862" y="1243"/>
                  </a:cxn>
                  <a:cxn ang="0">
                    <a:pos x="2747" y="1179"/>
                  </a:cxn>
                  <a:cxn ang="0">
                    <a:pos x="2805" y="1074"/>
                  </a:cxn>
                  <a:cxn ang="0">
                    <a:pos x="2628" y="671"/>
                  </a:cxn>
                  <a:cxn ang="0">
                    <a:pos x="2658" y="506"/>
                  </a:cxn>
                  <a:cxn ang="0">
                    <a:pos x="2490" y="282"/>
                  </a:cxn>
                  <a:cxn ang="0">
                    <a:pos x="1989" y="267"/>
                  </a:cxn>
                  <a:cxn ang="0">
                    <a:pos x="1753" y="132"/>
                  </a:cxn>
                  <a:cxn ang="0">
                    <a:pos x="1418" y="12"/>
                  </a:cxn>
                  <a:cxn ang="0">
                    <a:pos x="1176" y="62"/>
                  </a:cxn>
                  <a:cxn ang="0">
                    <a:pos x="988" y="0"/>
                  </a:cxn>
                  <a:cxn ang="0">
                    <a:pos x="650" y="182"/>
                  </a:cxn>
                  <a:cxn ang="0">
                    <a:pos x="533" y="412"/>
                  </a:cxn>
                  <a:cxn ang="0">
                    <a:pos x="424" y="527"/>
                  </a:cxn>
                  <a:cxn ang="0">
                    <a:pos x="369" y="718"/>
                  </a:cxn>
                  <a:cxn ang="0">
                    <a:pos x="203" y="839"/>
                  </a:cxn>
                </a:cxnLst>
                <a:rect l="0" t="0" r="r" b="b"/>
                <a:pathLst>
                  <a:path w="3288" h="2320">
                    <a:moveTo>
                      <a:pt x="203" y="839"/>
                    </a:moveTo>
                    <a:lnTo>
                      <a:pt x="173" y="954"/>
                    </a:lnTo>
                    <a:lnTo>
                      <a:pt x="290" y="1004"/>
                    </a:lnTo>
                    <a:lnTo>
                      <a:pt x="246" y="1119"/>
                    </a:lnTo>
                    <a:lnTo>
                      <a:pt x="266" y="1244"/>
                    </a:lnTo>
                    <a:lnTo>
                      <a:pt x="206" y="1359"/>
                    </a:lnTo>
                    <a:lnTo>
                      <a:pt x="241" y="1448"/>
                    </a:lnTo>
                    <a:lnTo>
                      <a:pt x="94" y="1542"/>
                    </a:lnTo>
                    <a:lnTo>
                      <a:pt x="0" y="1587"/>
                    </a:lnTo>
                    <a:lnTo>
                      <a:pt x="0" y="1707"/>
                    </a:lnTo>
                    <a:lnTo>
                      <a:pt x="94" y="1722"/>
                    </a:lnTo>
                    <a:lnTo>
                      <a:pt x="236" y="1632"/>
                    </a:lnTo>
                    <a:lnTo>
                      <a:pt x="384" y="1717"/>
                    </a:lnTo>
                    <a:lnTo>
                      <a:pt x="399" y="1897"/>
                    </a:lnTo>
                    <a:lnTo>
                      <a:pt x="455" y="2045"/>
                    </a:lnTo>
                    <a:lnTo>
                      <a:pt x="718" y="2058"/>
                    </a:lnTo>
                    <a:lnTo>
                      <a:pt x="1170" y="2150"/>
                    </a:lnTo>
                    <a:lnTo>
                      <a:pt x="1590" y="2320"/>
                    </a:lnTo>
                    <a:lnTo>
                      <a:pt x="1703" y="2255"/>
                    </a:lnTo>
                    <a:lnTo>
                      <a:pt x="1693" y="2180"/>
                    </a:lnTo>
                    <a:lnTo>
                      <a:pt x="1728" y="2080"/>
                    </a:lnTo>
                    <a:lnTo>
                      <a:pt x="1885" y="2060"/>
                    </a:lnTo>
                    <a:lnTo>
                      <a:pt x="2038" y="1977"/>
                    </a:lnTo>
                    <a:lnTo>
                      <a:pt x="2254" y="1957"/>
                    </a:lnTo>
                    <a:lnTo>
                      <a:pt x="2452" y="2045"/>
                    </a:lnTo>
                    <a:lnTo>
                      <a:pt x="2622" y="2043"/>
                    </a:lnTo>
                    <a:lnTo>
                      <a:pt x="2737" y="1956"/>
                    </a:lnTo>
                    <a:lnTo>
                      <a:pt x="2919" y="1942"/>
                    </a:lnTo>
                    <a:lnTo>
                      <a:pt x="2994" y="2017"/>
                    </a:lnTo>
                    <a:lnTo>
                      <a:pt x="3140" y="1767"/>
                    </a:lnTo>
                    <a:lnTo>
                      <a:pt x="3037" y="1722"/>
                    </a:lnTo>
                    <a:lnTo>
                      <a:pt x="3013" y="1642"/>
                    </a:lnTo>
                    <a:lnTo>
                      <a:pt x="3140" y="1642"/>
                    </a:lnTo>
                    <a:lnTo>
                      <a:pt x="3184" y="1572"/>
                    </a:lnTo>
                    <a:lnTo>
                      <a:pt x="3288" y="1524"/>
                    </a:lnTo>
                    <a:lnTo>
                      <a:pt x="3216" y="1380"/>
                    </a:lnTo>
                    <a:lnTo>
                      <a:pt x="3105" y="1446"/>
                    </a:lnTo>
                    <a:lnTo>
                      <a:pt x="3072" y="1379"/>
                    </a:lnTo>
                    <a:lnTo>
                      <a:pt x="3155" y="1269"/>
                    </a:lnTo>
                    <a:lnTo>
                      <a:pt x="2862" y="1243"/>
                    </a:lnTo>
                    <a:lnTo>
                      <a:pt x="2747" y="1179"/>
                    </a:lnTo>
                    <a:lnTo>
                      <a:pt x="2805" y="1074"/>
                    </a:lnTo>
                    <a:lnTo>
                      <a:pt x="2628" y="671"/>
                    </a:lnTo>
                    <a:lnTo>
                      <a:pt x="2658" y="506"/>
                    </a:lnTo>
                    <a:lnTo>
                      <a:pt x="2490" y="282"/>
                    </a:lnTo>
                    <a:lnTo>
                      <a:pt x="1989" y="267"/>
                    </a:lnTo>
                    <a:lnTo>
                      <a:pt x="1753" y="132"/>
                    </a:lnTo>
                    <a:lnTo>
                      <a:pt x="1418" y="12"/>
                    </a:lnTo>
                    <a:lnTo>
                      <a:pt x="1176" y="62"/>
                    </a:lnTo>
                    <a:lnTo>
                      <a:pt x="988" y="0"/>
                    </a:lnTo>
                    <a:lnTo>
                      <a:pt x="650" y="182"/>
                    </a:lnTo>
                    <a:lnTo>
                      <a:pt x="533" y="412"/>
                    </a:lnTo>
                    <a:lnTo>
                      <a:pt x="424" y="527"/>
                    </a:lnTo>
                    <a:lnTo>
                      <a:pt x="369" y="718"/>
                    </a:lnTo>
                    <a:lnTo>
                      <a:pt x="203" y="839"/>
                    </a:lnTo>
                    <a:close/>
                  </a:path>
                </a:pathLst>
              </a:custGeom>
              <a:solidFill>
                <a:srgbClr val="00BCFF"/>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1" name="Freeform 33">
                <a:extLst>
                  <a:ext uri="{FF2B5EF4-FFF2-40B4-BE49-F238E27FC236}">
                    <a16:creationId xmlns:a16="http://schemas.microsoft.com/office/drawing/2014/main" id="{7FD895DD-8EF3-472F-81AA-9E973CA38E5B}"/>
                  </a:ext>
                </a:extLst>
              </p:cNvPr>
              <p:cNvSpPr>
                <a:spLocks/>
              </p:cNvSpPr>
              <p:nvPr/>
            </p:nvSpPr>
            <p:spPr bwMode="auto">
              <a:xfrm>
                <a:off x="1846" y="3362"/>
                <a:ext cx="393" cy="267"/>
              </a:xfrm>
              <a:custGeom>
                <a:avLst/>
                <a:gdLst/>
                <a:ahLst/>
                <a:cxnLst>
                  <a:cxn ang="0">
                    <a:pos x="59" y="103"/>
                  </a:cxn>
                  <a:cxn ang="0">
                    <a:pos x="15" y="298"/>
                  </a:cxn>
                  <a:cxn ang="0">
                    <a:pos x="0" y="552"/>
                  </a:cxn>
                  <a:cxn ang="0">
                    <a:pos x="788" y="662"/>
                  </a:cxn>
                  <a:cxn ang="0">
                    <a:pos x="945" y="767"/>
                  </a:cxn>
                  <a:cxn ang="0">
                    <a:pos x="1209" y="878"/>
                  </a:cxn>
                  <a:cxn ang="0">
                    <a:pos x="1414" y="1063"/>
                  </a:cxn>
                  <a:cxn ang="0">
                    <a:pos x="1507" y="1263"/>
                  </a:cxn>
                  <a:cxn ang="0">
                    <a:pos x="1777" y="1376"/>
                  </a:cxn>
                  <a:cxn ang="0">
                    <a:pos x="1922" y="1361"/>
                  </a:cxn>
                  <a:cxn ang="0">
                    <a:pos x="1819" y="1554"/>
                  </a:cxn>
                  <a:cxn ang="0">
                    <a:pos x="1820" y="1720"/>
                  </a:cxn>
                  <a:cxn ang="0">
                    <a:pos x="1909" y="1810"/>
                  </a:cxn>
                  <a:cxn ang="0">
                    <a:pos x="2219" y="1540"/>
                  </a:cxn>
                  <a:cxn ang="0">
                    <a:pos x="2435" y="1456"/>
                  </a:cxn>
                  <a:cxn ang="0">
                    <a:pos x="2377" y="1346"/>
                  </a:cxn>
                  <a:cxn ang="0">
                    <a:pos x="2480" y="1241"/>
                  </a:cxn>
                  <a:cxn ang="0">
                    <a:pos x="2618" y="887"/>
                  </a:cxn>
                  <a:cxn ang="0">
                    <a:pos x="2569" y="732"/>
                  </a:cxn>
                  <a:cxn ang="0">
                    <a:pos x="2584" y="522"/>
                  </a:cxn>
                  <a:cxn ang="0">
                    <a:pos x="2628" y="243"/>
                  </a:cxn>
                  <a:cxn ang="0">
                    <a:pos x="2599" y="75"/>
                  </a:cxn>
                  <a:cxn ang="0">
                    <a:pos x="2527" y="0"/>
                  </a:cxn>
                  <a:cxn ang="0">
                    <a:pos x="2342" y="15"/>
                  </a:cxn>
                  <a:cxn ang="0">
                    <a:pos x="2229" y="100"/>
                  </a:cxn>
                  <a:cxn ang="0">
                    <a:pos x="2052" y="103"/>
                  </a:cxn>
                  <a:cxn ang="0">
                    <a:pos x="1862" y="15"/>
                  </a:cxn>
                  <a:cxn ang="0">
                    <a:pos x="1643" y="36"/>
                  </a:cxn>
                  <a:cxn ang="0">
                    <a:pos x="1489" y="118"/>
                  </a:cxn>
                  <a:cxn ang="0">
                    <a:pos x="1334" y="138"/>
                  </a:cxn>
                  <a:cxn ang="0">
                    <a:pos x="1301" y="238"/>
                  </a:cxn>
                  <a:cxn ang="0">
                    <a:pos x="1306" y="315"/>
                  </a:cxn>
                  <a:cxn ang="0">
                    <a:pos x="1196" y="377"/>
                  </a:cxn>
                  <a:cxn ang="0">
                    <a:pos x="788" y="213"/>
                  </a:cxn>
                  <a:cxn ang="0">
                    <a:pos x="330" y="118"/>
                  </a:cxn>
                  <a:cxn ang="0">
                    <a:pos x="59" y="103"/>
                  </a:cxn>
                </a:cxnLst>
                <a:rect l="0" t="0" r="r" b="b"/>
                <a:pathLst>
                  <a:path w="2628" h="1810">
                    <a:moveTo>
                      <a:pt x="59" y="103"/>
                    </a:moveTo>
                    <a:lnTo>
                      <a:pt x="15" y="298"/>
                    </a:lnTo>
                    <a:lnTo>
                      <a:pt x="0" y="552"/>
                    </a:lnTo>
                    <a:lnTo>
                      <a:pt x="788" y="662"/>
                    </a:lnTo>
                    <a:lnTo>
                      <a:pt x="945" y="767"/>
                    </a:lnTo>
                    <a:lnTo>
                      <a:pt x="1209" y="878"/>
                    </a:lnTo>
                    <a:lnTo>
                      <a:pt x="1414" y="1063"/>
                    </a:lnTo>
                    <a:lnTo>
                      <a:pt x="1507" y="1263"/>
                    </a:lnTo>
                    <a:lnTo>
                      <a:pt x="1777" y="1376"/>
                    </a:lnTo>
                    <a:lnTo>
                      <a:pt x="1922" y="1361"/>
                    </a:lnTo>
                    <a:lnTo>
                      <a:pt x="1819" y="1554"/>
                    </a:lnTo>
                    <a:lnTo>
                      <a:pt x="1820" y="1720"/>
                    </a:lnTo>
                    <a:lnTo>
                      <a:pt x="1909" y="1810"/>
                    </a:lnTo>
                    <a:lnTo>
                      <a:pt x="2219" y="1540"/>
                    </a:lnTo>
                    <a:lnTo>
                      <a:pt x="2435" y="1456"/>
                    </a:lnTo>
                    <a:lnTo>
                      <a:pt x="2377" y="1346"/>
                    </a:lnTo>
                    <a:lnTo>
                      <a:pt x="2480" y="1241"/>
                    </a:lnTo>
                    <a:lnTo>
                      <a:pt x="2618" y="887"/>
                    </a:lnTo>
                    <a:lnTo>
                      <a:pt x="2569" y="732"/>
                    </a:lnTo>
                    <a:lnTo>
                      <a:pt x="2584" y="522"/>
                    </a:lnTo>
                    <a:lnTo>
                      <a:pt x="2628" y="243"/>
                    </a:lnTo>
                    <a:lnTo>
                      <a:pt x="2599" y="75"/>
                    </a:lnTo>
                    <a:lnTo>
                      <a:pt x="2527" y="0"/>
                    </a:lnTo>
                    <a:lnTo>
                      <a:pt x="2342" y="15"/>
                    </a:lnTo>
                    <a:lnTo>
                      <a:pt x="2229" y="100"/>
                    </a:lnTo>
                    <a:lnTo>
                      <a:pt x="2052" y="103"/>
                    </a:lnTo>
                    <a:lnTo>
                      <a:pt x="1862" y="15"/>
                    </a:lnTo>
                    <a:lnTo>
                      <a:pt x="1643" y="36"/>
                    </a:lnTo>
                    <a:lnTo>
                      <a:pt x="1489" y="118"/>
                    </a:lnTo>
                    <a:lnTo>
                      <a:pt x="1334" y="138"/>
                    </a:lnTo>
                    <a:lnTo>
                      <a:pt x="1301" y="238"/>
                    </a:lnTo>
                    <a:lnTo>
                      <a:pt x="1306" y="315"/>
                    </a:lnTo>
                    <a:lnTo>
                      <a:pt x="1196" y="377"/>
                    </a:lnTo>
                    <a:lnTo>
                      <a:pt x="788" y="213"/>
                    </a:lnTo>
                    <a:lnTo>
                      <a:pt x="330" y="118"/>
                    </a:lnTo>
                    <a:lnTo>
                      <a:pt x="59" y="103"/>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dirty="0">
                  <a:solidFill>
                    <a:sysClr val="windowText" lastClr="000000"/>
                  </a:solidFill>
                </a:endParaRPr>
              </a:p>
            </p:txBody>
          </p:sp>
          <p:sp>
            <p:nvSpPr>
              <p:cNvPr id="52" name="Freeform 34">
                <a:extLst>
                  <a:ext uri="{FF2B5EF4-FFF2-40B4-BE49-F238E27FC236}">
                    <a16:creationId xmlns:a16="http://schemas.microsoft.com/office/drawing/2014/main" id="{FCEAC2A1-B94D-4334-A4E1-7A85A3BD5CE6}"/>
                  </a:ext>
                </a:extLst>
              </p:cNvPr>
              <p:cNvSpPr>
                <a:spLocks/>
              </p:cNvSpPr>
              <p:nvPr/>
            </p:nvSpPr>
            <p:spPr bwMode="auto">
              <a:xfrm>
                <a:off x="1542" y="3444"/>
                <a:ext cx="592" cy="532"/>
              </a:xfrm>
              <a:custGeom>
                <a:avLst/>
                <a:gdLst/>
                <a:ahLst/>
                <a:cxnLst>
                  <a:cxn ang="0">
                    <a:pos x="0" y="1342"/>
                  </a:cxn>
                  <a:cxn ang="0">
                    <a:pos x="134" y="1185"/>
                  </a:cxn>
                  <a:cxn ang="0">
                    <a:pos x="317" y="1008"/>
                  </a:cxn>
                  <a:cxn ang="0">
                    <a:pos x="515" y="765"/>
                  </a:cxn>
                  <a:cxn ang="0">
                    <a:pos x="759" y="552"/>
                  </a:cxn>
                  <a:cxn ang="0">
                    <a:pos x="971" y="366"/>
                  </a:cxn>
                  <a:cxn ang="0">
                    <a:pos x="1270" y="155"/>
                  </a:cxn>
                  <a:cxn ang="0">
                    <a:pos x="1626" y="0"/>
                  </a:cxn>
                  <a:cxn ang="0">
                    <a:pos x="2252" y="86"/>
                  </a:cxn>
                  <a:cxn ang="0">
                    <a:pos x="2380" y="171"/>
                  </a:cxn>
                  <a:cxn ang="0">
                    <a:pos x="2593" y="262"/>
                  </a:cxn>
                  <a:cxn ang="0">
                    <a:pos x="2758" y="410"/>
                  </a:cxn>
                  <a:cxn ang="0">
                    <a:pos x="2829" y="566"/>
                  </a:cxn>
                  <a:cxn ang="0">
                    <a:pos x="3046" y="657"/>
                  </a:cxn>
                  <a:cxn ang="0">
                    <a:pos x="3164" y="645"/>
                  </a:cxn>
                  <a:cxn ang="0">
                    <a:pos x="3081" y="801"/>
                  </a:cxn>
                  <a:cxn ang="0">
                    <a:pos x="3081" y="933"/>
                  </a:cxn>
                  <a:cxn ang="0">
                    <a:pos x="3152" y="1005"/>
                  </a:cxn>
                  <a:cxn ang="0">
                    <a:pos x="3010" y="1232"/>
                  </a:cxn>
                  <a:cxn ang="0">
                    <a:pos x="2751" y="1703"/>
                  </a:cxn>
                  <a:cxn ang="0">
                    <a:pos x="2558" y="1894"/>
                  </a:cxn>
                  <a:cxn ang="0">
                    <a:pos x="2231" y="2122"/>
                  </a:cxn>
                  <a:cxn ang="0">
                    <a:pos x="2207" y="2106"/>
                  </a:cxn>
                  <a:cxn ang="0">
                    <a:pos x="2349" y="2010"/>
                  </a:cxn>
                  <a:cxn ang="0">
                    <a:pos x="2479" y="1890"/>
                  </a:cxn>
                  <a:cxn ang="0">
                    <a:pos x="2502" y="1775"/>
                  </a:cxn>
                  <a:cxn ang="0">
                    <a:pos x="2593" y="1751"/>
                  </a:cxn>
                  <a:cxn ang="0">
                    <a:pos x="2688" y="1631"/>
                  </a:cxn>
                  <a:cxn ang="0">
                    <a:pos x="2735" y="1559"/>
                  </a:cxn>
                  <a:cxn ang="0">
                    <a:pos x="2762" y="1451"/>
                  </a:cxn>
                  <a:cxn ang="0">
                    <a:pos x="2739" y="1376"/>
                  </a:cxn>
                  <a:cxn ang="0">
                    <a:pos x="2640" y="1436"/>
                  </a:cxn>
                  <a:cxn ang="0">
                    <a:pos x="2526" y="1459"/>
                  </a:cxn>
                  <a:cxn ang="0">
                    <a:pos x="2439" y="1627"/>
                  </a:cxn>
                  <a:cxn ang="0">
                    <a:pos x="2384" y="1771"/>
                  </a:cxn>
                  <a:cxn ang="0">
                    <a:pos x="2215" y="1858"/>
                  </a:cxn>
                  <a:cxn ang="0">
                    <a:pos x="2120" y="1986"/>
                  </a:cxn>
                  <a:cxn ang="0">
                    <a:pos x="2054" y="2130"/>
                  </a:cxn>
                  <a:cxn ang="0">
                    <a:pos x="2014" y="2309"/>
                  </a:cxn>
                  <a:cxn ang="0">
                    <a:pos x="1912" y="2553"/>
                  </a:cxn>
                  <a:cxn ang="0">
                    <a:pos x="1719" y="2744"/>
                  </a:cxn>
                  <a:cxn ang="0">
                    <a:pos x="1560" y="2882"/>
                  </a:cxn>
                  <a:cxn ang="0">
                    <a:pos x="1483" y="2840"/>
                  </a:cxn>
                  <a:cxn ang="0">
                    <a:pos x="1506" y="2597"/>
                  </a:cxn>
                  <a:cxn ang="0">
                    <a:pos x="1699" y="2445"/>
                  </a:cxn>
                  <a:cxn ang="0">
                    <a:pos x="1522" y="2321"/>
                  </a:cxn>
                  <a:cxn ang="0">
                    <a:pos x="1475" y="2170"/>
                  </a:cxn>
                  <a:cxn ang="0">
                    <a:pos x="593" y="1555"/>
                  </a:cxn>
                  <a:cxn ang="0">
                    <a:pos x="455" y="1412"/>
                  </a:cxn>
                  <a:cxn ang="0">
                    <a:pos x="313" y="1268"/>
                  </a:cxn>
                  <a:cxn ang="0">
                    <a:pos x="207" y="1284"/>
                  </a:cxn>
                  <a:cxn ang="0">
                    <a:pos x="174" y="1365"/>
                  </a:cxn>
                  <a:cxn ang="0">
                    <a:pos x="0" y="1342"/>
                  </a:cxn>
                </a:cxnLst>
                <a:rect l="0" t="0" r="r" b="b"/>
                <a:pathLst>
                  <a:path w="3164" h="2882">
                    <a:moveTo>
                      <a:pt x="0" y="1342"/>
                    </a:moveTo>
                    <a:lnTo>
                      <a:pt x="134" y="1185"/>
                    </a:lnTo>
                    <a:lnTo>
                      <a:pt x="317" y="1008"/>
                    </a:lnTo>
                    <a:lnTo>
                      <a:pt x="515" y="765"/>
                    </a:lnTo>
                    <a:lnTo>
                      <a:pt x="759" y="552"/>
                    </a:lnTo>
                    <a:lnTo>
                      <a:pt x="971" y="366"/>
                    </a:lnTo>
                    <a:lnTo>
                      <a:pt x="1270" y="155"/>
                    </a:lnTo>
                    <a:lnTo>
                      <a:pt x="1626" y="0"/>
                    </a:lnTo>
                    <a:lnTo>
                      <a:pt x="2252" y="86"/>
                    </a:lnTo>
                    <a:lnTo>
                      <a:pt x="2380" y="171"/>
                    </a:lnTo>
                    <a:lnTo>
                      <a:pt x="2593" y="262"/>
                    </a:lnTo>
                    <a:lnTo>
                      <a:pt x="2758" y="410"/>
                    </a:lnTo>
                    <a:lnTo>
                      <a:pt x="2829" y="566"/>
                    </a:lnTo>
                    <a:lnTo>
                      <a:pt x="3046" y="657"/>
                    </a:lnTo>
                    <a:lnTo>
                      <a:pt x="3164" y="645"/>
                    </a:lnTo>
                    <a:lnTo>
                      <a:pt x="3081" y="801"/>
                    </a:lnTo>
                    <a:lnTo>
                      <a:pt x="3081" y="933"/>
                    </a:lnTo>
                    <a:lnTo>
                      <a:pt x="3152" y="1005"/>
                    </a:lnTo>
                    <a:lnTo>
                      <a:pt x="3010" y="1232"/>
                    </a:lnTo>
                    <a:lnTo>
                      <a:pt x="2751" y="1703"/>
                    </a:lnTo>
                    <a:lnTo>
                      <a:pt x="2558" y="1894"/>
                    </a:lnTo>
                    <a:lnTo>
                      <a:pt x="2231" y="2122"/>
                    </a:lnTo>
                    <a:lnTo>
                      <a:pt x="2207" y="2106"/>
                    </a:lnTo>
                    <a:lnTo>
                      <a:pt x="2349" y="2010"/>
                    </a:lnTo>
                    <a:lnTo>
                      <a:pt x="2479" y="1890"/>
                    </a:lnTo>
                    <a:lnTo>
                      <a:pt x="2502" y="1775"/>
                    </a:lnTo>
                    <a:lnTo>
                      <a:pt x="2593" y="1751"/>
                    </a:lnTo>
                    <a:lnTo>
                      <a:pt x="2688" y="1631"/>
                    </a:lnTo>
                    <a:lnTo>
                      <a:pt x="2735" y="1559"/>
                    </a:lnTo>
                    <a:lnTo>
                      <a:pt x="2762" y="1451"/>
                    </a:lnTo>
                    <a:lnTo>
                      <a:pt x="2739" y="1376"/>
                    </a:lnTo>
                    <a:lnTo>
                      <a:pt x="2640" y="1436"/>
                    </a:lnTo>
                    <a:lnTo>
                      <a:pt x="2526" y="1459"/>
                    </a:lnTo>
                    <a:lnTo>
                      <a:pt x="2439" y="1627"/>
                    </a:lnTo>
                    <a:lnTo>
                      <a:pt x="2384" y="1771"/>
                    </a:lnTo>
                    <a:lnTo>
                      <a:pt x="2215" y="1858"/>
                    </a:lnTo>
                    <a:lnTo>
                      <a:pt x="2120" y="1986"/>
                    </a:lnTo>
                    <a:lnTo>
                      <a:pt x="2054" y="2130"/>
                    </a:lnTo>
                    <a:lnTo>
                      <a:pt x="2014" y="2309"/>
                    </a:lnTo>
                    <a:lnTo>
                      <a:pt x="1912" y="2553"/>
                    </a:lnTo>
                    <a:lnTo>
                      <a:pt x="1719" y="2744"/>
                    </a:lnTo>
                    <a:lnTo>
                      <a:pt x="1560" y="2882"/>
                    </a:lnTo>
                    <a:lnTo>
                      <a:pt x="1483" y="2840"/>
                    </a:lnTo>
                    <a:lnTo>
                      <a:pt x="1506" y="2597"/>
                    </a:lnTo>
                    <a:lnTo>
                      <a:pt x="1699" y="2445"/>
                    </a:lnTo>
                    <a:lnTo>
                      <a:pt x="1522" y="2321"/>
                    </a:lnTo>
                    <a:lnTo>
                      <a:pt x="1475" y="2170"/>
                    </a:lnTo>
                    <a:lnTo>
                      <a:pt x="593" y="1555"/>
                    </a:lnTo>
                    <a:lnTo>
                      <a:pt x="455" y="1412"/>
                    </a:lnTo>
                    <a:lnTo>
                      <a:pt x="313" y="1268"/>
                    </a:lnTo>
                    <a:lnTo>
                      <a:pt x="207" y="1284"/>
                    </a:lnTo>
                    <a:lnTo>
                      <a:pt x="174" y="1365"/>
                    </a:lnTo>
                    <a:lnTo>
                      <a:pt x="0" y="1342"/>
                    </a:lnTo>
                    <a:close/>
                  </a:path>
                </a:pathLst>
              </a:custGeom>
              <a:solidFill>
                <a:srgbClr val="73BC44"/>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3" name="Freeform 35">
                <a:extLst>
                  <a:ext uri="{FF2B5EF4-FFF2-40B4-BE49-F238E27FC236}">
                    <a16:creationId xmlns:a16="http://schemas.microsoft.com/office/drawing/2014/main" id="{22322E0E-5C12-4072-8F7F-BD0EAB78E08A}"/>
                  </a:ext>
                </a:extLst>
              </p:cNvPr>
              <p:cNvSpPr>
                <a:spLocks/>
              </p:cNvSpPr>
              <p:nvPr/>
            </p:nvSpPr>
            <p:spPr bwMode="auto">
              <a:xfrm>
                <a:off x="1937" y="2266"/>
                <a:ext cx="588" cy="561"/>
              </a:xfrm>
              <a:custGeom>
                <a:avLst/>
                <a:gdLst/>
                <a:ahLst/>
                <a:cxnLst>
                  <a:cxn ang="0">
                    <a:pos x="1585" y="15"/>
                  </a:cxn>
                  <a:cxn ang="0">
                    <a:pos x="1668" y="175"/>
                  </a:cxn>
                  <a:cxn ang="0">
                    <a:pos x="2069" y="352"/>
                  </a:cxn>
                  <a:cxn ang="0">
                    <a:pos x="2224" y="150"/>
                  </a:cxn>
                  <a:cxn ang="0">
                    <a:pos x="2406" y="100"/>
                  </a:cxn>
                  <a:cxn ang="0">
                    <a:pos x="2466" y="370"/>
                  </a:cxn>
                  <a:cxn ang="0">
                    <a:pos x="2799" y="277"/>
                  </a:cxn>
                  <a:cxn ang="0">
                    <a:pos x="3064" y="405"/>
                  </a:cxn>
                  <a:cxn ang="0">
                    <a:pos x="3657" y="162"/>
                  </a:cxn>
                  <a:cxn ang="0">
                    <a:pos x="3892" y="240"/>
                  </a:cxn>
                  <a:cxn ang="0">
                    <a:pos x="3774" y="789"/>
                  </a:cxn>
                  <a:cxn ang="0">
                    <a:pos x="3922" y="1054"/>
                  </a:cxn>
                  <a:cxn ang="0">
                    <a:pos x="3867" y="1394"/>
                  </a:cxn>
                  <a:cxn ang="0">
                    <a:pos x="3603" y="1257"/>
                  </a:cxn>
                  <a:cxn ang="0">
                    <a:pos x="3583" y="1462"/>
                  </a:cxn>
                  <a:cxn ang="0">
                    <a:pos x="3392" y="1512"/>
                  </a:cxn>
                  <a:cxn ang="0">
                    <a:pos x="3377" y="1850"/>
                  </a:cxn>
                  <a:cxn ang="0">
                    <a:pos x="3052" y="2225"/>
                  </a:cxn>
                  <a:cxn ang="0">
                    <a:pos x="3160" y="2529"/>
                  </a:cxn>
                  <a:cxn ang="0">
                    <a:pos x="2998" y="2798"/>
                  </a:cxn>
                  <a:cxn ang="0">
                    <a:pos x="3057" y="2988"/>
                  </a:cxn>
                  <a:cxn ang="0">
                    <a:pos x="2934" y="3166"/>
                  </a:cxn>
                  <a:cxn ang="0">
                    <a:pos x="2609" y="3246"/>
                  </a:cxn>
                  <a:cxn ang="0">
                    <a:pos x="1974" y="3351"/>
                  </a:cxn>
                  <a:cxn ang="0">
                    <a:pos x="1447" y="3396"/>
                  </a:cxn>
                  <a:cxn ang="0">
                    <a:pos x="1118" y="3801"/>
                  </a:cxn>
                  <a:cxn ang="0">
                    <a:pos x="428" y="3396"/>
                  </a:cxn>
                  <a:cxn ang="0">
                    <a:pos x="113" y="3331"/>
                  </a:cxn>
                  <a:cxn ang="0">
                    <a:pos x="73" y="3148"/>
                  </a:cxn>
                  <a:cxn ang="0">
                    <a:pos x="0" y="2762"/>
                  </a:cxn>
                  <a:cxn ang="0">
                    <a:pos x="83" y="2502"/>
                  </a:cxn>
                  <a:cxn ang="0">
                    <a:pos x="260" y="2270"/>
                  </a:cxn>
                  <a:cxn ang="0">
                    <a:pos x="693" y="1744"/>
                  </a:cxn>
                  <a:cxn ang="0">
                    <a:pos x="928" y="1372"/>
                  </a:cxn>
                  <a:cxn ang="0">
                    <a:pos x="1240" y="1131"/>
                  </a:cxn>
                  <a:cxn ang="0">
                    <a:pos x="1343" y="818"/>
                  </a:cxn>
                  <a:cxn ang="0">
                    <a:pos x="1478" y="350"/>
                  </a:cxn>
                </a:cxnLst>
                <a:rect l="0" t="0" r="r" b="b"/>
                <a:pathLst>
                  <a:path w="3928" h="3801">
                    <a:moveTo>
                      <a:pt x="1563" y="182"/>
                    </a:moveTo>
                    <a:lnTo>
                      <a:pt x="1585" y="15"/>
                    </a:lnTo>
                    <a:lnTo>
                      <a:pt x="1648" y="67"/>
                    </a:lnTo>
                    <a:lnTo>
                      <a:pt x="1668" y="175"/>
                    </a:lnTo>
                    <a:lnTo>
                      <a:pt x="1991" y="255"/>
                    </a:lnTo>
                    <a:lnTo>
                      <a:pt x="2069" y="352"/>
                    </a:lnTo>
                    <a:lnTo>
                      <a:pt x="2209" y="297"/>
                    </a:lnTo>
                    <a:lnTo>
                      <a:pt x="2224" y="150"/>
                    </a:lnTo>
                    <a:lnTo>
                      <a:pt x="2344" y="0"/>
                    </a:lnTo>
                    <a:lnTo>
                      <a:pt x="2406" y="100"/>
                    </a:lnTo>
                    <a:lnTo>
                      <a:pt x="2416" y="280"/>
                    </a:lnTo>
                    <a:lnTo>
                      <a:pt x="2466" y="370"/>
                    </a:lnTo>
                    <a:lnTo>
                      <a:pt x="2581" y="280"/>
                    </a:lnTo>
                    <a:lnTo>
                      <a:pt x="2799" y="277"/>
                    </a:lnTo>
                    <a:lnTo>
                      <a:pt x="2832" y="405"/>
                    </a:lnTo>
                    <a:lnTo>
                      <a:pt x="3064" y="405"/>
                    </a:lnTo>
                    <a:lnTo>
                      <a:pt x="3450" y="300"/>
                    </a:lnTo>
                    <a:lnTo>
                      <a:pt x="3657" y="162"/>
                    </a:lnTo>
                    <a:lnTo>
                      <a:pt x="3824" y="161"/>
                    </a:lnTo>
                    <a:lnTo>
                      <a:pt x="3892" y="240"/>
                    </a:lnTo>
                    <a:lnTo>
                      <a:pt x="3869" y="460"/>
                    </a:lnTo>
                    <a:lnTo>
                      <a:pt x="3774" y="789"/>
                    </a:lnTo>
                    <a:lnTo>
                      <a:pt x="3839" y="949"/>
                    </a:lnTo>
                    <a:lnTo>
                      <a:pt x="3922" y="1054"/>
                    </a:lnTo>
                    <a:lnTo>
                      <a:pt x="3928" y="1252"/>
                    </a:lnTo>
                    <a:lnTo>
                      <a:pt x="3867" y="1394"/>
                    </a:lnTo>
                    <a:lnTo>
                      <a:pt x="3735" y="1357"/>
                    </a:lnTo>
                    <a:lnTo>
                      <a:pt x="3603" y="1257"/>
                    </a:lnTo>
                    <a:lnTo>
                      <a:pt x="3559" y="1372"/>
                    </a:lnTo>
                    <a:lnTo>
                      <a:pt x="3583" y="1462"/>
                    </a:lnTo>
                    <a:lnTo>
                      <a:pt x="3455" y="1407"/>
                    </a:lnTo>
                    <a:lnTo>
                      <a:pt x="3392" y="1512"/>
                    </a:lnTo>
                    <a:lnTo>
                      <a:pt x="3362" y="1670"/>
                    </a:lnTo>
                    <a:lnTo>
                      <a:pt x="3377" y="1850"/>
                    </a:lnTo>
                    <a:lnTo>
                      <a:pt x="3155" y="2001"/>
                    </a:lnTo>
                    <a:lnTo>
                      <a:pt x="3052" y="2225"/>
                    </a:lnTo>
                    <a:lnTo>
                      <a:pt x="3175" y="2364"/>
                    </a:lnTo>
                    <a:lnTo>
                      <a:pt x="3160" y="2529"/>
                    </a:lnTo>
                    <a:lnTo>
                      <a:pt x="2983" y="2693"/>
                    </a:lnTo>
                    <a:lnTo>
                      <a:pt x="2998" y="2798"/>
                    </a:lnTo>
                    <a:lnTo>
                      <a:pt x="3097" y="2828"/>
                    </a:lnTo>
                    <a:lnTo>
                      <a:pt x="3057" y="2988"/>
                    </a:lnTo>
                    <a:lnTo>
                      <a:pt x="3125" y="3106"/>
                    </a:lnTo>
                    <a:lnTo>
                      <a:pt x="2934" y="3166"/>
                    </a:lnTo>
                    <a:lnTo>
                      <a:pt x="2717" y="3291"/>
                    </a:lnTo>
                    <a:lnTo>
                      <a:pt x="2609" y="3246"/>
                    </a:lnTo>
                    <a:lnTo>
                      <a:pt x="2195" y="3216"/>
                    </a:lnTo>
                    <a:lnTo>
                      <a:pt x="1974" y="3351"/>
                    </a:lnTo>
                    <a:lnTo>
                      <a:pt x="1757" y="3346"/>
                    </a:lnTo>
                    <a:lnTo>
                      <a:pt x="1447" y="3396"/>
                    </a:lnTo>
                    <a:lnTo>
                      <a:pt x="1328" y="3590"/>
                    </a:lnTo>
                    <a:lnTo>
                      <a:pt x="1118" y="3801"/>
                    </a:lnTo>
                    <a:lnTo>
                      <a:pt x="619" y="3561"/>
                    </a:lnTo>
                    <a:lnTo>
                      <a:pt x="428" y="3396"/>
                    </a:lnTo>
                    <a:lnTo>
                      <a:pt x="171" y="3411"/>
                    </a:lnTo>
                    <a:lnTo>
                      <a:pt x="113" y="3331"/>
                    </a:lnTo>
                    <a:lnTo>
                      <a:pt x="176" y="3204"/>
                    </a:lnTo>
                    <a:lnTo>
                      <a:pt x="73" y="3148"/>
                    </a:lnTo>
                    <a:lnTo>
                      <a:pt x="9" y="2948"/>
                    </a:lnTo>
                    <a:lnTo>
                      <a:pt x="0" y="2762"/>
                    </a:lnTo>
                    <a:lnTo>
                      <a:pt x="5" y="2608"/>
                    </a:lnTo>
                    <a:lnTo>
                      <a:pt x="83" y="2502"/>
                    </a:lnTo>
                    <a:lnTo>
                      <a:pt x="84" y="2347"/>
                    </a:lnTo>
                    <a:lnTo>
                      <a:pt x="260" y="2270"/>
                    </a:lnTo>
                    <a:lnTo>
                      <a:pt x="510" y="1789"/>
                    </a:lnTo>
                    <a:lnTo>
                      <a:pt x="693" y="1744"/>
                    </a:lnTo>
                    <a:lnTo>
                      <a:pt x="838" y="1576"/>
                    </a:lnTo>
                    <a:lnTo>
                      <a:pt x="928" y="1372"/>
                    </a:lnTo>
                    <a:lnTo>
                      <a:pt x="1136" y="1317"/>
                    </a:lnTo>
                    <a:lnTo>
                      <a:pt x="1240" y="1131"/>
                    </a:lnTo>
                    <a:lnTo>
                      <a:pt x="1252" y="939"/>
                    </a:lnTo>
                    <a:lnTo>
                      <a:pt x="1343" y="818"/>
                    </a:lnTo>
                    <a:lnTo>
                      <a:pt x="1354" y="668"/>
                    </a:lnTo>
                    <a:lnTo>
                      <a:pt x="1478" y="350"/>
                    </a:lnTo>
                    <a:lnTo>
                      <a:pt x="1563" y="182"/>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4" name="Freeform 36">
                <a:extLst>
                  <a:ext uri="{FF2B5EF4-FFF2-40B4-BE49-F238E27FC236}">
                    <a16:creationId xmlns:a16="http://schemas.microsoft.com/office/drawing/2014/main" id="{611B49EA-53AA-49A6-A32C-473B11414ADB}"/>
                  </a:ext>
                </a:extLst>
              </p:cNvPr>
              <p:cNvSpPr>
                <a:spLocks/>
              </p:cNvSpPr>
              <p:nvPr/>
            </p:nvSpPr>
            <p:spPr bwMode="auto">
              <a:xfrm>
                <a:off x="2094" y="2411"/>
                <a:ext cx="902" cy="710"/>
              </a:xfrm>
              <a:custGeom>
                <a:avLst/>
                <a:gdLst/>
                <a:ahLst/>
                <a:cxnLst>
                  <a:cxn ang="0">
                    <a:pos x="2846" y="526"/>
                  </a:cxn>
                  <a:cxn ang="0">
                    <a:pos x="3235" y="284"/>
                  </a:cxn>
                  <a:cxn ang="0">
                    <a:pos x="3746" y="0"/>
                  </a:cxn>
                  <a:cxn ang="0">
                    <a:pos x="3998" y="140"/>
                  </a:cxn>
                  <a:cxn ang="0">
                    <a:pos x="4165" y="304"/>
                  </a:cxn>
                  <a:cxn ang="0">
                    <a:pos x="4588" y="394"/>
                  </a:cxn>
                  <a:cxn ang="0">
                    <a:pos x="5075" y="554"/>
                  </a:cxn>
                  <a:cxn ang="0">
                    <a:pos x="5286" y="917"/>
                  </a:cxn>
                  <a:cxn ang="0">
                    <a:pos x="5858" y="977"/>
                  </a:cxn>
                  <a:cxn ang="0">
                    <a:pos x="5833" y="1302"/>
                  </a:cxn>
                  <a:cxn ang="0">
                    <a:pos x="5769" y="1556"/>
                  </a:cxn>
                  <a:cxn ang="0">
                    <a:pos x="5578" y="1756"/>
                  </a:cxn>
                  <a:cxn ang="0">
                    <a:pos x="5774" y="2066"/>
                  </a:cxn>
                  <a:cxn ang="0">
                    <a:pos x="5568" y="2110"/>
                  </a:cxn>
                  <a:cxn ang="0">
                    <a:pos x="5370" y="2130"/>
                  </a:cxn>
                  <a:cxn ang="0">
                    <a:pos x="5258" y="2290"/>
                  </a:cxn>
                  <a:cxn ang="0">
                    <a:pos x="5301" y="2573"/>
                  </a:cxn>
                  <a:cxn ang="0">
                    <a:pos x="5258" y="2758"/>
                  </a:cxn>
                  <a:cxn ang="0">
                    <a:pos x="5095" y="3177"/>
                  </a:cxn>
                  <a:cxn ang="0">
                    <a:pos x="4750" y="3442"/>
                  </a:cxn>
                  <a:cxn ang="0">
                    <a:pos x="4564" y="3876"/>
                  </a:cxn>
                  <a:cxn ang="0">
                    <a:pos x="4455" y="4224"/>
                  </a:cxn>
                  <a:cxn ang="0">
                    <a:pos x="3884" y="4404"/>
                  </a:cxn>
                  <a:cxn ang="0">
                    <a:pos x="3116" y="4538"/>
                  </a:cxn>
                  <a:cxn ang="0">
                    <a:pos x="2641" y="4625"/>
                  </a:cxn>
                  <a:cxn ang="0">
                    <a:pos x="2403" y="4803"/>
                  </a:cxn>
                  <a:cxn ang="0">
                    <a:pos x="2290" y="4608"/>
                  </a:cxn>
                  <a:cxn ang="0">
                    <a:pos x="2211" y="4149"/>
                  </a:cxn>
                  <a:cxn ang="0">
                    <a:pos x="2240" y="3951"/>
                  </a:cxn>
                  <a:cxn ang="0">
                    <a:pos x="1945" y="3671"/>
                  </a:cxn>
                  <a:cxn ang="0">
                    <a:pos x="1950" y="3282"/>
                  </a:cxn>
                  <a:cxn ang="0">
                    <a:pos x="1419" y="3216"/>
                  </a:cxn>
                  <a:cxn ang="0">
                    <a:pos x="961" y="3294"/>
                  </a:cxn>
                  <a:cxn ang="0">
                    <a:pos x="530" y="3087"/>
                  </a:cxn>
                  <a:cxn ang="0">
                    <a:pos x="34" y="3123"/>
                  </a:cxn>
                  <a:cxn ang="0">
                    <a:pos x="71" y="2818"/>
                  </a:cxn>
                  <a:cxn ang="0">
                    <a:pos x="404" y="2411"/>
                  </a:cxn>
                  <a:cxn ang="0">
                    <a:pos x="931" y="2366"/>
                  </a:cxn>
                  <a:cxn ang="0">
                    <a:pos x="1561" y="2261"/>
                  </a:cxn>
                  <a:cxn ang="0">
                    <a:pos x="1889" y="2183"/>
                  </a:cxn>
                  <a:cxn ang="0">
                    <a:pos x="2009" y="2005"/>
                  </a:cxn>
                  <a:cxn ang="0">
                    <a:pos x="1948" y="1813"/>
                  </a:cxn>
                  <a:cxn ang="0">
                    <a:pos x="2111" y="1546"/>
                  </a:cxn>
                  <a:cxn ang="0">
                    <a:pos x="2004" y="1242"/>
                  </a:cxn>
                  <a:cxn ang="0">
                    <a:pos x="2329" y="865"/>
                  </a:cxn>
                  <a:cxn ang="0">
                    <a:pos x="2344" y="529"/>
                  </a:cxn>
                  <a:cxn ang="0">
                    <a:pos x="2536" y="479"/>
                  </a:cxn>
                  <a:cxn ang="0">
                    <a:pos x="2556" y="276"/>
                  </a:cxn>
                  <a:cxn ang="0">
                    <a:pos x="2816" y="409"/>
                  </a:cxn>
                </a:cxnLst>
                <a:rect l="0" t="0" r="r" b="b"/>
                <a:pathLst>
                  <a:path w="6025" h="4803">
                    <a:moveTo>
                      <a:pt x="2816" y="409"/>
                    </a:moveTo>
                    <a:lnTo>
                      <a:pt x="2846" y="526"/>
                    </a:lnTo>
                    <a:lnTo>
                      <a:pt x="3019" y="446"/>
                    </a:lnTo>
                    <a:lnTo>
                      <a:pt x="3235" y="284"/>
                    </a:lnTo>
                    <a:lnTo>
                      <a:pt x="3500" y="95"/>
                    </a:lnTo>
                    <a:lnTo>
                      <a:pt x="3746" y="0"/>
                    </a:lnTo>
                    <a:lnTo>
                      <a:pt x="3968" y="45"/>
                    </a:lnTo>
                    <a:lnTo>
                      <a:pt x="3998" y="140"/>
                    </a:lnTo>
                    <a:lnTo>
                      <a:pt x="3983" y="284"/>
                    </a:lnTo>
                    <a:lnTo>
                      <a:pt x="4165" y="304"/>
                    </a:lnTo>
                    <a:lnTo>
                      <a:pt x="4351" y="245"/>
                    </a:lnTo>
                    <a:lnTo>
                      <a:pt x="4588" y="394"/>
                    </a:lnTo>
                    <a:lnTo>
                      <a:pt x="4859" y="529"/>
                    </a:lnTo>
                    <a:lnTo>
                      <a:pt x="5075" y="554"/>
                    </a:lnTo>
                    <a:lnTo>
                      <a:pt x="5208" y="694"/>
                    </a:lnTo>
                    <a:lnTo>
                      <a:pt x="5286" y="917"/>
                    </a:lnTo>
                    <a:lnTo>
                      <a:pt x="5504" y="857"/>
                    </a:lnTo>
                    <a:lnTo>
                      <a:pt x="5858" y="977"/>
                    </a:lnTo>
                    <a:lnTo>
                      <a:pt x="6025" y="1142"/>
                    </a:lnTo>
                    <a:lnTo>
                      <a:pt x="5833" y="1302"/>
                    </a:lnTo>
                    <a:lnTo>
                      <a:pt x="5754" y="1441"/>
                    </a:lnTo>
                    <a:lnTo>
                      <a:pt x="5769" y="1556"/>
                    </a:lnTo>
                    <a:lnTo>
                      <a:pt x="5636" y="1571"/>
                    </a:lnTo>
                    <a:lnTo>
                      <a:pt x="5578" y="1756"/>
                    </a:lnTo>
                    <a:lnTo>
                      <a:pt x="5596" y="1915"/>
                    </a:lnTo>
                    <a:lnTo>
                      <a:pt x="5774" y="2066"/>
                    </a:lnTo>
                    <a:lnTo>
                      <a:pt x="5716" y="2171"/>
                    </a:lnTo>
                    <a:lnTo>
                      <a:pt x="5568" y="2110"/>
                    </a:lnTo>
                    <a:lnTo>
                      <a:pt x="5479" y="2145"/>
                    </a:lnTo>
                    <a:lnTo>
                      <a:pt x="5370" y="2130"/>
                    </a:lnTo>
                    <a:lnTo>
                      <a:pt x="5356" y="2245"/>
                    </a:lnTo>
                    <a:lnTo>
                      <a:pt x="5258" y="2290"/>
                    </a:lnTo>
                    <a:lnTo>
                      <a:pt x="5296" y="2413"/>
                    </a:lnTo>
                    <a:lnTo>
                      <a:pt x="5301" y="2573"/>
                    </a:lnTo>
                    <a:lnTo>
                      <a:pt x="5169" y="2648"/>
                    </a:lnTo>
                    <a:lnTo>
                      <a:pt x="5258" y="2758"/>
                    </a:lnTo>
                    <a:lnTo>
                      <a:pt x="5258" y="2967"/>
                    </a:lnTo>
                    <a:lnTo>
                      <a:pt x="5095" y="3177"/>
                    </a:lnTo>
                    <a:lnTo>
                      <a:pt x="4986" y="3382"/>
                    </a:lnTo>
                    <a:lnTo>
                      <a:pt x="4750" y="3442"/>
                    </a:lnTo>
                    <a:lnTo>
                      <a:pt x="4714" y="3711"/>
                    </a:lnTo>
                    <a:lnTo>
                      <a:pt x="4564" y="3876"/>
                    </a:lnTo>
                    <a:lnTo>
                      <a:pt x="4416" y="4114"/>
                    </a:lnTo>
                    <a:lnTo>
                      <a:pt x="4455" y="4224"/>
                    </a:lnTo>
                    <a:lnTo>
                      <a:pt x="4160" y="4354"/>
                    </a:lnTo>
                    <a:lnTo>
                      <a:pt x="3884" y="4404"/>
                    </a:lnTo>
                    <a:lnTo>
                      <a:pt x="3599" y="4384"/>
                    </a:lnTo>
                    <a:lnTo>
                      <a:pt x="3116" y="4538"/>
                    </a:lnTo>
                    <a:lnTo>
                      <a:pt x="2831" y="4653"/>
                    </a:lnTo>
                    <a:lnTo>
                      <a:pt x="2641" y="4625"/>
                    </a:lnTo>
                    <a:lnTo>
                      <a:pt x="2555" y="4763"/>
                    </a:lnTo>
                    <a:lnTo>
                      <a:pt x="2403" y="4803"/>
                    </a:lnTo>
                    <a:lnTo>
                      <a:pt x="2275" y="4718"/>
                    </a:lnTo>
                    <a:lnTo>
                      <a:pt x="2290" y="4608"/>
                    </a:lnTo>
                    <a:lnTo>
                      <a:pt x="2171" y="4504"/>
                    </a:lnTo>
                    <a:lnTo>
                      <a:pt x="2211" y="4149"/>
                    </a:lnTo>
                    <a:lnTo>
                      <a:pt x="2314" y="4029"/>
                    </a:lnTo>
                    <a:lnTo>
                      <a:pt x="2240" y="3951"/>
                    </a:lnTo>
                    <a:lnTo>
                      <a:pt x="2019" y="3936"/>
                    </a:lnTo>
                    <a:lnTo>
                      <a:pt x="1945" y="3671"/>
                    </a:lnTo>
                    <a:lnTo>
                      <a:pt x="2039" y="3536"/>
                    </a:lnTo>
                    <a:lnTo>
                      <a:pt x="1950" y="3282"/>
                    </a:lnTo>
                    <a:lnTo>
                      <a:pt x="1846" y="3163"/>
                    </a:lnTo>
                    <a:lnTo>
                      <a:pt x="1419" y="3216"/>
                    </a:lnTo>
                    <a:lnTo>
                      <a:pt x="1169" y="3216"/>
                    </a:lnTo>
                    <a:lnTo>
                      <a:pt x="961" y="3294"/>
                    </a:lnTo>
                    <a:lnTo>
                      <a:pt x="824" y="3096"/>
                    </a:lnTo>
                    <a:lnTo>
                      <a:pt x="530" y="3087"/>
                    </a:lnTo>
                    <a:lnTo>
                      <a:pt x="251" y="3023"/>
                    </a:lnTo>
                    <a:lnTo>
                      <a:pt x="34" y="3123"/>
                    </a:lnTo>
                    <a:lnTo>
                      <a:pt x="0" y="2987"/>
                    </a:lnTo>
                    <a:lnTo>
                      <a:pt x="71" y="2818"/>
                    </a:lnTo>
                    <a:lnTo>
                      <a:pt x="284" y="2606"/>
                    </a:lnTo>
                    <a:lnTo>
                      <a:pt x="404" y="2411"/>
                    </a:lnTo>
                    <a:lnTo>
                      <a:pt x="711" y="2363"/>
                    </a:lnTo>
                    <a:lnTo>
                      <a:pt x="931" y="2366"/>
                    </a:lnTo>
                    <a:lnTo>
                      <a:pt x="1151" y="2233"/>
                    </a:lnTo>
                    <a:lnTo>
                      <a:pt x="1561" y="2261"/>
                    </a:lnTo>
                    <a:lnTo>
                      <a:pt x="1670" y="2310"/>
                    </a:lnTo>
                    <a:lnTo>
                      <a:pt x="1889" y="2183"/>
                    </a:lnTo>
                    <a:lnTo>
                      <a:pt x="2076" y="2123"/>
                    </a:lnTo>
                    <a:lnTo>
                      <a:pt x="2009" y="2005"/>
                    </a:lnTo>
                    <a:lnTo>
                      <a:pt x="2051" y="1846"/>
                    </a:lnTo>
                    <a:lnTo>
                      <a:pt x="1948" y="1813"/>
                    </a:lnTo>
                    <a:lnTo>
                      <a:pt x="1935" y="1712"/>
                    </a:lnTo>
                    <a:lnTo>
                      <a:pt x="2111" y="1546"/>
                    </a:lnTo>
                    <a:lnTo>
                      <a:pt x="2128" y="1381"/>
                    </a:lnTo>
                    <a:lnTo>
                      <a:pt x="2004" y="1242"/>
                    </a:lnTo>
                    <a:lnTo>
                      <a:pt x="2109" y="1017"/>
                    </a:lnTo>
                    <a:lnTo>
                      <a:pt x="2329" y="865"/>
                    </a:lnTo>
                    <a:lnTo>
                      <a:pt x="2314" y="686"/>
                    </a:lnTo>
                    <a:lnTo>
                      <a:pt x="2344" y="529"/>
                    </a:lnTo>
                    <a:lnTo>
                      <a:pt x="2409" y="424"/>
                    </a:lnTo>
                    <a:lnTo>
                      <a:pt x="2536" y="479"/>
                    </a:lnTo>
                    <a:lnTo>
                      <a:pt x="2511" y="389"/>
                    </a:lnTo>
                    <a:lnTo>
                      <a:pt x="2556" y="276"/>
                    </a:lnTo>
                    <a:lnTo>
                      <a:pt x="2698" y="379"/>
                    </a:lnTo>
                    <a:lnTo>
                      <a:pt x="2816" y="40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5" name="Freeform 37">
                <a:extLst>
                  <a:ext uri="{FF2B5EF4-FFF2-40B4-BE49-F238E27FC236}">
                    <a16:creationId xmlns:a16="http://schemas.microsoft.com/office/drawing/2014/main" id="{FB2E28CD-7C8A-43B3-8496-7B1DFEA8F740}"/>
                  </a:ext>
                </a:extLst>
              </p:cNvPr>
              <p:cNvSpPr>
                <a:spLocks/>
              </p:cNvSpPr>
              <p:nvPr/>
            </p:nvSpPr>
            <p:spPr bwMode="auto">
              <a:xfrm>
                <a:off x="2561" y="2959"/>
                <a:ext cx="307" cy="180"/>
              </a:xfrm>
              <a:custGeom>
                <a:avLst/>
                <a:gdLst/>
                <a:ahLst/>
                <a:cxnLst>
                  <a:cxn ang="0">
                    <a:pos x="398" y="1169"/>
                  </a:cxn>
                  <a:cxn ang="0">
                    <a:pos x="613" y="1141"/>
                  </a:cxn>
                  <a:cxn ang="0">
                    <a:pos x="732" y="1051"/>
                  </a:cxn>
                  <a:cxn ang="0">
                    <a:pos x="879" y="1076"/>
                  </a:cxn>
                  <a:cxn ang="0">
                    <a:pos x="869" y="1196"/>
                  </a:cxn>
                  <a:cxn ang="0">
                    <a:pos x="1179" y="1181"/>
                  </a:cxn>
                  <a:cxn ang="0">
                    <a:pos x="1341" y="1211"/>
                  </a:cxn>
                  <a:cxn ang="0">
                    <a:pos x="1455" y="1141"/>
                  </a:cxn>
                  <a:cxn ang="0">
                    <a:pos x="1430" y="1031"/>
                  </a:cxn>
                  <a:cxn ang="0">
                    <a:pos x="1691" y="797"/>
                  </a:cxn>
                  <a:cxn ang="0">
                    <a:pos x="1956" y="717"/>
                  </a:cxn>
                  <a:cxn ang="0">
                    <a:pos x="1956" y="448"/>
                  </a:cxn>
                  <a:cxn ang="0">
                    <a:pos x="2048" y="288"/>
                  </a:cxn>
                  <a:cxn ang="0">
                    <a:pos x="1666" y="213"/>
                  </a:cxn>
                  <a:cxn ang="0">
                    <a:pos x="1646" y="94"/>
                  </a:cxn>
                  <a:cxn ang="0">
                    <a:pos x="1595" y="0"/>
                  </a:cxn>
                  <a:cxn ang="0">
                    <a:pos x="1451" y="158"/>
                  </a:cxn>
                  <a:cxn ang="0">
                    <a:pos x="1298" y="403"/>
                  </a:cxn>
                  <a:cxn ang="0">
                    <a:pos x="1338" y="514"/>
                  </a:cxn>
                  <a:cxn ang="0">
                    <a:pos x="1040" y="642"/>
                  </a:cxn>
                  <a:cxn ang="0">
                    <a:pos x="768" y="692"/>
                  </a:cxn>
                  <a:cxn ang="0">
                    <a:pos x="483" y="672"/>
                  </a:cxn>
                  <a:cxn ang="0">
                    <a:pos x="0" y="828"/>
                  </a:cxn>
                  <a:cxn ang="0">
                    <a:pos x="101" y="927"/>
                  </a:cxn>
                  <a:cxn ang="0">
                    <a:pos x="223" y="960"/>
                  </a:cxn>
                  <a:cxn ang="0">
                    <a:pos x="328" y="1042"/>
                  </a:cxn>
                  <a:cxn ang="0">
                    <a:pos x="398" y="1169"/>
                  </a:cxn>
                </a:cxnLst>
                <a:rect l="0" t="0" r="r" b="b"/>
                <a:pathLst>
                  <a:path w="2048" h="1211">
                    <a:moveTo>
                      <a:pt x="398" y="1169"/>
                    </a:moveTo>
                    <a:lnTo>
                      <a:pt x="613" y="1141"/>
                    </a:lnTo>
                    <a:lnTo>
                      <a:pt x="732" y="1051"/>
                    </a:lnTo>
                    <a:lnTo>
                      <a:pt x="879" y="1076"/>
                    </a:lnTo>
                    <a:lnTo>
                      <a:pt x="869" y="1196"/>
                    </a:lnTo>
                    <a:lnTo>
                      <a:pt x="1179" y="1181"/>
                    </a:lnTo>
                    <a:lnTo>
                      <a:pt x="1341" y="1211"/>
                    </a:lnTo>
                    <a:lnTo>
                      <a:pt x="1455" y="1141"/>
                    </a:lnTo>
                    <a:lnTo>
                      <a:pt x="1430" y="1031"/>
                    </a:lnTo>
                    <a:lnTo>
                      <a:pt x="1691" y="797"/>
                    </a:lnTo>
                    <a:lnTo>
                      <a:pt x="1956" y="717"/>
                    </a:lnTo>
                    <a:lnTo>
                      <a:pt x="1956" y="448"/>
                    </a:lnTo>
                    <a:lnTo>
                      <a:pt x="2048" y="288"/>
                    </a:lnTo>
                    <a:lnTo>
                      <a:pt x="1666" y="213"/>
                    </a:lnTo>
                    <a:lnTo>
                      <a:pt x="1646" y="94"/>
                    </a:lnTo>
                    <a:lnTo>
                      <a:pt x="1595" y="0"/>
                    </a:lnTo>
                    <a:lnTo>
                      <a:pt x="1451" y="158"/>
                    </a:lnTo>
                    <a:lnTo>
                      <a:pt x="1298" y="403"/>
                    </a:lnTo>
                    <a:lnTo>
                      <a:pt x="1338" y="514"/>
                    </a:lnTo>
                    <a:lnTo>
                      <a:pt x="1040" y="642"/>
                    </a:lnTo>
                    <a:lnTo>
                      <a:pt x="768" y="692"/>
                    </a:lnTo>
                    <a:lnTo>
                      <a:pt x="483" y="672"/>
                    </a:lnTo>
                    <a:lnTo>
                      <a:pt x="0" y="828"/>
                    </a:lnTo>
                    <a:lnTo>
                      <a:pt x="101" y="927"/>
                    </a:lnTo>
                    <a:lnTo>
                      <a:pt x="223" y="960"/>
                    </a:lnTo>
                    <a:lnTo>
                      <a:pt x="328" y="1042"/>
                    </a:lnTo>
                    <a:lnTo>
                      <a:pt x="398" y="116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6" name="Freeform 38">
                <a:extLst>
                  <a:ext uri="{FF2B5EF4-FFF2-40B4-BE49-F238E27FC236}">
                    <a16:creationId xmlns:a16="http://schemas.microsoft.com/office/drawing/2014/main" id="{56E581D5-0670-4A67-94C1-B99176F6BFA7}"/>
                  </a:ext>
                </a:extLst>
              </p:cNvPr>
              <p:cNvSpPr>
                <a:spLocks/>
              </p:cNvSpPr>
              <p:nvPr/>
            </p:nvSpPr>
            <p:spPr bwMode="auto">
              <a:xfrm>
                <a:off x="2800" y="2723"/>
                <a:ext cx="190" cy="279"/>
              </a:xfrm>
              <a:custGeom>
                <a:avLst/>
                <a:gdLst/>
                <a:ahLst/>
                <a:cxnLst>
                  <a:cxn ang="0">
                    <a:pos x="1265" y="254"/>
                  </a:cxn>
                  <a:cxn ang="0">
                    <a:pos x="1123" y="166"/>
                  </a:cxn>
                  <a:cxn ang="0">
                    <a:pos x="1000" y="61"/>
                  </a:cxn>
                  <a:cxn ang="0">
                    <a:pos x="849" y="0"/>
                  </a:cxn>
                  <a:cxn ang="0">
                    <a:pos x="763" y="34"/>
                  </a:cxn>
                  <a:cxn ang="0">
                    <a:pos x="655" y="21"/>
                  </a:cxn>
                  <a:cxn ang="0">
                    <a:pos x="643" y="131"/>
                  </a:cxn>
                  <a:cxn ang="0">
                    <a:pos x="545" y="181"/>
                  </a:cxn>
                  <a:cxn ang="0">
                    <a:pos x="585" y="304"/>
                  </a:cxn>
                  <a:cxn ang="0">
                    <a:pos x="590" y="464"/>
                  </a:cxn>
                  <a:cxn ang="0">
                    <a:pos x="455" y="537"/>
                  </a:cxn>
                  <a:cxn ang="0">
                    <a:pos x="543" y="644"/>
                  </a:cxn>
                  <a:cxn ang="0">
                    <a:pos x="540" y="864"/>
                  </a:cxn>
                  <a:cxn ang="0">
                    <a:pos x="382" y="1064"/>
                  </a:cxn>
                  <a:cxn ang="0">
                    <a:pos x="274" y="1272"/>
                  </a:cxn>
                  <a:cxn ang="0">
                    <a:pos x="35" y="1332"/>
                  </a:cxn>
                  <a:cxn ang="0">
                    <a:pos x="0" y="1605"/>
                  </a:cxn>
                  <a:cxn ang="0">
                    <a:pos x="50" y="1700"/>
                  </a:cxn>
                  <a:cxn ang="0">
                    <a:pos x="70" y="1815"/>
                  </a:cxn>
                  <a:cxn ang="0">
                    <a:pos x="450" y="1891"/>
                  </a:cxn>
                  <a:cxn ang="0">
                    <a:pos x="598" y="1696"/>
                  </a:cxn>
                  <a:cxn ang="0">
                    <a:pos x="854" y="1527"/>
                  </a:cxn>
                  <a:cxn ang="0">
                    <a:pos x="883" y="1362"/>
                  </a:cxn>
                  <a:cxn ang="0">
                    <a:pos x="996" y="1113"/>
                  </a:cxn>
                  <a:cxn ang="0">
                    <a:pos x="1193" y="943"/>
                  </a:cxn>
                  <a:cxn ang="0">
                    <a:pos x="1203" y="554"/>
                  </a:cxn>
                  <a:cxn ang="0">
                    <a:pos x="1265" y="254"/>
                  </a:cxn>
                </a:cxnLst>
                <a:rect l="0" t="0" r="r" b="b"/>
                <a:pathLst>
                  <a:path w="1265" h="1891">
                    <a:moveTo>
                      <a:pt x="1265" y="254"/>
                    </a:moveTo>
                    <a:lnTo>
                      <a:pt x="1123" y="166"/>
                    </a:lnTo>
                    <a:lnTo>
                      <a:pt x="1000" y="61"/>
                    </a:lnTo>
                    <a:lnTo>
                      <a:pt x="849" y="0"/>
                    </a:lnTo>
                    <a:lnTo>
                      <a:pt x="763" y="34"/>
                    </a:lnTo>
                    <a:lnTo>
                      <a:pt x="655" y="21"/>
                    </a:lnTo>
                    <a:lnTo>
                      <a:pt x="643" y="131"/>
                    </a:lnTo>
                    <a:lnTo>
                      <a:pt x="545" y="181"/>
                    </a:lnTo>
                    <a:lnTo>
                      <a:pt x="585" y="304"/>
                    </a:lnTo>
                    <a:lnTo>
                      <a:pt x="590" y="464"/>
                    </a:lnTo>
                    <a:lnTo>
                      <a:pt x="455" y="537"/>
                    </a:lnTo>
                    <a:lnTo>
                      <a:pt x="543" y="644"/>
                    </a:lnTo>
                    <a:lnTo>
                      <a:pt x="540" y="864"/>
                    </a:lnTo>
                    <a:lnTo>
                      <a:pt x="382" y="1064"/>
                    </a:lnTo>
                    <a:lnTo>
                      <a:pt x="274" y="1272"/>
                    </a:lnTo>
                    <a:lnTo>
                      <a:pt x="35" y="1332"/>
                    </a:lnTo>
                    <a:lnTo>
                      <a:pt x="0" y="1605"/>
                    </a:lnTo>
                    <a:lnTo>
                      <a:pt x="50" y="1700"/>
                    </a:lnTo>
                    <a:lnTo>
                      <a:pt x="70" y="1815"/>
                    </a:lnTo>
                    <a:lnTo>
                      <a:pt x="450" y="1891"/>
                    </a:lnTo>
                    <a:lnTo>
                      <a:pt x="598" y="1696"/>
                    </a:lnTo>
                    <a:lnTo>
                      <a:pt x="854" y="1527"/>
                    </a:lnTo>
                    <a:lnTo>
                      <a:pt x="883" y="1362"/>
                    </a:lnTo>
                    <a:lnTo>
                      <a:pt x="996" y="1113"/>
                    </a:lnTo>
                    <a:lnTo>
                      <a:pt x="1193" y="943"/>
                    </a:lnTo>
                    <a:lnTo>
                      <a:pt x="1203" y="554"/>
                    </a:lnTo>
                    <a:lnTo>
                      <a:pt x="1265" y="254"/>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7" name="Freeform 39">
                <a:extLst>
                  <a:ext uri="{FF2B5EF4-FFF2-40B4-BE49-F238E27FC236}">
                    <a16:creationId xmlns:a16="http://schemas.microsoft.com/office/drawing/2014/main" id="{259AA506-85F1-457C-ADBD-FB0D92033AE9}"/>
                  </a:ext>
                </a:extLst>
              </p:cNvPr>
              <p:cNvSpPr>
                <a:spLocks/>
              </p:cNvSpPr>
              <p:nvPr/>
            </p:nvSpPr>
            <p:spPr bwMode="auto">
              <a:xfrm>
                <a:off x="2488" y="1949"/>
                <a:ext cx="726" cy="811"/>
              </a:xfrm>
              <a:custGeom>
                <a:avLst/>
                <a:gdLst/>
                <a:ahLst/>
                <a:cxnLst>
                  <a:cxn ang="0">
                    <a:pos x="148" y="1143"/>
                  </a:cxn>
                  <a:cxn ang="0">
                    <a:pos x="74" y="1616"/>
                  </a:cxn>
                  <a:cxn ang="0">
                    <a:pos x="261" y="1661"/>
                  </a:cxn>
                  <a:cxn ang="0">
                    <a:pos x="251" y="1780"/>
                  </a:cxn>
                  <a:cxn ang="0">
                    <a:pos x="54" y="1995"/>
                  </a:cxn>
                  <a:cxn ang="0">
                    <a:pos x="143" y="2304"/>
                  </a:cxn>
                  <a:cxn ang="0">
                    <a:pos x="188" y="2624"/>
                  </a:cxn>
                  <a:cxn ang="0">
                    <a:pos x="163" y="3098"/>
                  </a:cxn>
                  <a:cxn ang="0">
                    <a:pos x="253" y="3399"/>
                  </a:cxn>
                  <a:cxn ang="0">
                    <a:pos x="216" y="3657"/>
                  </a:cxn>
                  <a:cxn ang="0">
                    <a:pos x="866" y="3223"/>
                  </a:cxn>
                  <a:cxn ang="0">
                    <a:pos x="1340" y="3172"/>
                  </a:cxn>
                  <a:cxn ang="0">
                    <a:pos x="1354" y="3412"/>
                  </a:cxn>
                  <a:cxn ang="0">
                    <a:pos x="1725" y="3372"/>
                  </a:cxn>
                  <a:cxn ang="0">
                    <a:pos x="2233" y="3657"/>
                  </a:cxn>
                  <a:cxn ang="0">
                    <a:pos x="2583" y="3829"/>
                  </a:cxn>
                  <a:cxn ang="0">
                    <a:pos x="2873" y="3987"/>
                  </a:cxn>
                  <a:cxn ang="0">
                    <a:pos x="3395" y="4269"/>
                  </a:cxn>
                  <a:cxn ang="0">
                    <a:pos x="3125" y="4569"/>
                  </a:cxn>
                  <a:cxn ang="0">
                    <a:pos x="3005" y="4699"/>
                  </a:cxn>
                  <a:cxn ang="0">
                    <a:pos x="2968" y="5043"/>
                  </a:cxn>
                  <a:cxn ang="0">
                    <a:pos x="3087" y="5297"/>
                  </a:cxn>
                  <a:cxn ang="0">
                    <a:pos x="3352" y="5492"/>
                  </a:cxn>
                  <a:cxn ang="0">
                    <a:pos x="3692" y="5228"/>
                  </a:cxn>
                  <a:cxn ang="0">
                    <a:pos x="3745" y="4549"/>
                  </a:cxn>
                  <a:cxn ang="0">
                    <a:pos x="3893" y="3532"/>
                  </a:cxn>
                  <a:cxn ang="0">
                    <a:pos x="4012" y="2903"/>
                  </a:cxn>
                  <a:cxn ang="0">
                    <a:pos x="4149" y="2594"/>
                  </a:cxn>
                  <a:cxn ang="0">
                    <a:pos x="4208" y="2349"/>
                  </a:cxn>
                  <a:cxn ang="0">
                    <a:pos x="4410" y="2399"/>
                  </a:cxn>
                  <a:cxn ang="0">
                    <a:pos x="4735" y="2040"/>
                  </a:cxn>
                  <a:cxn ang="0">
                    <a:pos x="4725" y="1741"/>
                  </a:cxn>
                  <a:cxn ang="0">
                    <a:pos x="4503" y="1441"/>
                  </a:cxn>
                  <a:cxn ang="0">
                    <a:pos x="4637" y="1256"/>
                  </a:cxn>
                  <a:cxn ang="0">
                    <a:pos x="4754" y="913"/>
                  </a:cxn>
                  <a:cxn ang="0">
                    <a:pos x="4474" y="294"/>
                  </a:cxn>
                  <a:cxn ang="0">
                    <a:pos x="4218" y="225"/>
                  </a:cxn>
                  <a:cxn ang="0">
                    <a:pos x="3677" y="140"/>
                  </a:cxn>
                  <a:cxn ang="0">
                    <a:pos x="3440" y="299"/>
                  </a:cxn>
                  <a:cxn ang="0">
                    <a:pos x="3214" y="484"/>
                  </a:cxn>
                  <a:cxn ang="0">
                    <a:pos x="3110" y="284"/>
                  </a:cxn>
                  <a:cxn ang="0">
                    <a:pos x="2879" y="60"/>
                  </a:cxn>
                  <a:cxn ang="0">
                    <a:pos x="2475" y="349"/>
                  </a:cxn>
                  <a:cxn ang="0">
                    <a:pos x="2091" y="529"/>
                  </a:cxn>
                  <a:cxn ang="0">
                    <a:pos x="1826" y="469"/>
                  </a:cxn>
                  <a:cxn ang="0">
                    <a:pos x="1619" y="404"/>
                  </a:cxn>
                  <a:cxn ang="0">
                    <a:pos x="1580" y="629"/>
                  </a:cxn>
                  <a:cxn ang="0">
                    <a:pos x="1508" y="935"/>
                  </a:cxn>
                  <a:cxn ang="0">
                    <a:pos x="1168" y="1085"/>
                  </a:cxn>
                  <a:cxn ang="0">
                    <a:pos x="868" y="1258"/>
                  </a:cxn>
                  <a:cxn ang="0">
                    <a:pos x="630" y="1108"/>
                  </a:cxn>
                  <a:cxn ang="0">
                    <a:pos x="388" y="966"/>
                  </a:cxn>
                </a:cxnLst>
                <a:rect l="0" t="0" r="r" b="b"/>
                <a:pathLst>
                  <a:path w="4852" h="5492">
                    <a:moveTo>
                      <a:pt x="388" y="966"/>
                    </a:moveTo>
                    <a:lnTo>
                      <a:pt x="148" y="1143"/>
                    </a:lnTo>
                    <a:lnTo>
                      <a:pt x="0" y="1501"/>
                    </a:lnTo>
                    <a:lnTo>
                      <a:pt x="74" y="1616"/>
                    </a:lnTo>
                    <a:lnTo>
                      <a:pt x="188" y="1616"/>
                    </a:lnTo>
                    <a:lnTo>
                      <a:pt x="261" y="1661"/>
                    </a:lnTo>
                    <a:lnTo>
                      <a:pt x="158" y="1750"/>
                    </a:lnTo>
                    <a:lnTo>
                      <a:pt x="251" y="1780"/>
                    </a:lnTo>
                    <a:lnTo>
                      <a:pt x="216" y="1815"/>
                    </a:lnTo>
                    <a:lnTo>
                      <a:pt x="54" y="1995"/>
                    </a:lnTo>
                    <a:lnTo>
                      <a:pt x="163" y="2175"/>
                    </a:lnTo>
                    <a:lnTo>
                      <a:pt x="143" y="2304"/>
                    </a:lnTo>
                    <a:lnTo>
                      <a:pt x="216" y="2384"/>
                    </a:lnTo>
                    <a:lnTo>
                      <a:pt x="188" y="2624"/>
                    </a:lnTo>
                    <a:lnTo>
                      <a:pt x="99" y="2933"/>
                    </a:lnTo>
                    <a:lnTo>
                      <a:pt x="163" y="3098"/>
                    </a:lnTo>
                    <a:lnTo>
                      <a:pt x="246" y="3203"/>
                    </a:lnTo>
                    <a:lnTo>
                      <a:pt x="253" y="3399"/>
                    </a:lnTo>
                    <a:lnTo>
                      <a:pt x="189" y="3538"/>
                    </a:lnTo>
                    <a:lnTo>
                      <a:pt x="216" y="3657"/>
                    </a:lnTo>
                    <a:lnTo>
                      <a:pt x="391" y="3572"/>
                    </a:lnTo>
                    <a:lnTo>
                      <a:pt x="866" y="3223"/>
                    </a:lnTo>
                    <a:lnTo>
                      <a:pt x="1118" y="3129"/>
                    </a:lnTo>
                    <a:lnTo>
                      <a:pt x="1340" y="3172"/>
                    </a:lnTo>
                    <a:lnTo>
                      <a:pt x="1369" y="3267"/>
                    </a:lnTo>
                    <a:lnTo>
                      <a:pt x="1354" y="3412"/>
                    </a:lnTo>
                    <a:lnTo>
                      <a:pt x="1535" y="3432"/>
                    </a:lnTo>
                    <a:lnTo>
                      <a:pt x="1725" y="3372"/>
                    </a:lnTo>
                    <a:lnTo>
                      <a:pt x="1945" y="3514"/>
                    </a:lnTo>
                    <a:lnTo>
                      <a:pt x="2233" y="3657"/>
                    </a:lnTo>
                    <a:lnTo>
                      <a:pt x="2453" y="3684"/>
                    </a:lnTo>
                    <a:lnTo>
                      <a:pt x="2583" y="3829"/>
                    </a:lnTo>
                    <a:lnTo>
                      <a:pt x="2660" y="4047"/>
                    </a:lnTo>
                    <a:lnTo>
                      <a:pt x="2873" y="3987"/>
                    </a:lnTo>
                    <a:lnTo>
                      <a:pt x="3230" y="4104"/>
                    </a:lnTo>
                    <a:lnTo>
                      <a:pt x="3395" y="4269"/>
                    </a:lnTo>
                    <a:lnTo>
                      <a:pt x="3203" y="4429"/>
                    </a:lnTo>
                    <a:lnTo>
                      <a:pt x="3125" y="4569"/>
                    </a:lnTo>
                    <a:lnTo>
                      <a:pt x="3140" y="4684"/>
                    </a:lnTo>
                    <a:lnTo>
                      <a:pt x="3005" y="4699"/>
                    </a:lnTo>
                    <a:lnTo>
                      <a:pt x="2948" y="4883"/>
                    </a:lnTo>
                    <a:lnTo>
                      <a:pt x="2968" y="5043"/>
                    </a:lnTo>
                    <a:lnTo>
                      <a:pt x="3145" y="5193"/>
                    </a:lnTo>
                    <a:lnTo>
                      <a:pt x="3087" y="5297"/>
                    </a:lnTo>
                    <a:lnTo>
                      <a:pt x="3204" y="5402"/>
                    </a:lnTo>
                    <a:lnTo>
                      <a:pt x="3352" y="5492"/>
                    </a:lnTo>
                    <a:lnTo>
                      <a:pt x="3465" y="5372"/>
                    </a:lnTo>
                    <a:lnTo>
                      <a:pt x="3692" y="5228"/>
                    </a:lnTo>
                    <a:lnTo>
                      <a:pt x="3662" y="4973"/>
                    </a:lnTo>
                    <a:lnTo>
                      <a:pt x="3745" y="4549"/>
                    </a:lnTo>
                    <a:lnTo>
                      <a:pt x="3913" y="4221"/>
                    </a:lnTo>
                    <a:lnTo>
                      <a:pt x="3893" y="3532"/>
                    </a:lnTo>
                    <a:lnTo>
                      <a:pt x="3967" y="3103"/>
                    </a:lnTo>
                    <a:lnTo>
                      <a:pt x="4012" y="2903"/>
                    </a:lnTo>
                    <a:lnTo>
                      <a:pt x="3987" y="2724"/>
                    </a:lnTo>
                    <a:lnTo>
                      <a:pt x="4149" y="2594"/>
                    </a:lnTo>
                    <a:lnTo>
                      <a:pt x="4114" y="2424"/>
                    </a:lnTo>
                    <a:lnTo>
                      <a:pt x="4208" y="2349"/>
                    </a:lnTo>
                    <a:lnTo>
                      <a:pt x="4277" y="2534"/>
                    </a:lnTo>
                    <a:lnTo>
                      <a:pt x="4410" y="2399"/>
                    </a:lnTo>
                    <a:lnTo>
                      <a:pt x="4548" y="2245"/>
                    </a:lnTo>
                    <a:lnTo>
                      <a:pt x="4735" y="2040"/>
                    </a:lnTo>
                    <a:lnTo>
                      <a:pt x="4852" y="1777"/>
                    </a:lnTo>
                    <a:lnTo>
                      <a:pt x="4725" y="1741"/>
                    </a:lnTo>
                    <a:lnTo>
                      <a:pt x="4573" y="1621"/>
                    </a:lnTo>
                    <a:lnTo>
                      <a:pt x="4503" y="1441"/>
                    </a:lnTo>
                    <a:lnTo>
                      <a:pt x="4484" y="1256"/>
                    </a:lnTo>
                    <a:lnTo>
                      <a:pt x="4637" y="1256"/>
                    </a:lnTo>
                    <a:lnTo>
                      <a:pt x="4720" y="1183"/>
                    </a:lnTo>
                    <a:lnTo>
                      <a:pt x="4754" y="913"/>
                    </a:lnTo>
                    <a:lnTo>
                      <a:pt x="4637" y="749"/>
                    </a:lnTo>
                    <a:lnTo>
                      <a:pt x="4474" y="294"/>
                    </a:lnTo>
                    <a:lnTo>
                      <a:pt x="4342" y="304"/>
                    </a:lnTo>
                    <a:lnTo>
                      <a:pt x="4218" y="225"/>
                    </a:lnTo>
                    <a:lnTo>
                      <a:pt x="3893" y="0"/>
                    </a:lnTo>
                    <a:lnTo>
                      <a:pt x="3677" y="140"/>
                    </a:lnTo>
                    <a:lnTo>
                      <a:pt x="3618" y="274"/>
                    </a:lnTo>
                    <a:lnTo>
                      <a:pt x="3440" y="299"/>
                    </a:lnTo>
                    <a:lnTo>
                      <a:pt x="3382" y="434"/>
                    </a:lnTo>
                    <a:lnTo>
                      <a:pt x="3214" y="484"/>
                    </a:lnTo>
                    <a:lnTo>
                      <a:pt x="3204" y="379"/>
                    </a:lnTo>
                    <a:lnTo>
                      <a:pt x="3110" y="284"/>
                    </a:lnTo>
                    <a:lnTo>
                      <a:pt x="3110" y="150"/>
                    </a:lnTo>
                    <a:lnTo>
                      <a:pt x="2879" y="60"/>
                    </a:lnTo>
                    <a:lnTo>
                      <a:pt x="2609" y="359"/>
                    </a:lnTo>
                    <a:lnTo>
                      <a:pt x="2475" y="349"/>
                    </a:lnTo>
                    <a:lnTo>
                      <a:pt x="2304" y="394"/>
                    </a:lnTo>
                    <a:lnTo>
                      <a:pt x="2091" y="529"/>
                    </a:lnTo>
                    <a:lnTo>
                      <a:pt x="1929" y="424"/>
                    </a:lnTo>
                    <a:lnTo>
                      <a:pt x="1826" y="469"/>
                    </a:lnTo>
                    <a:lnTo>
                      <a:pt x="1723" y="404"/>
                    </a:lnTo>
                    <a:lnTo>
                      <a:pt x="1619" y="404"/>
                    </a:lnTo>
                    <a:lnTo>
                      <a:pt x="1501" y="469"/>
                    </a:lnTo>
                    <a:lnTo>
                      <a:pt x="1580" y="629"/>
                    </a:lnTo>
                    <a:lnTo>
                      <a:pt x="1580" y="808"/>
                    </a:lnTo>
                    <a:lnTo>
                      <a:pt x="1508" y="935"/>
                    </a:lnTo>
                    <a:lnTo>
                      <a:pt x="1329" y="1138"/>
                    </a:lnTo>
                    <a:lnTo>
                      <a:pt x="1168" y="1085"/>
                    </a:lnTo>
                    <a:lnTo>
                      <a:pt x="1040" y="1184"/>
                    </a:lnTo>
                    <a:lnTo>
                      <a:pt x="868" y="1258"/>
                    </a:lnTo>
                    <a:lnTo>
                      <a:pt x="718" y="1214"/>
                    </a:lnTo>
                    <a:lnTo>
                      <a:pt x="630" y="1108"/>
                    </a:lnTo>
                    <a:lnTo>
                      <a:pt x="571" y="948"/>
                    </a:lnTo>
                    <a:lnTo>
                      <a:pt x="388" y="96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8" name="Freeform 40">
                <a:extLst>
                  <a:ext uri="{FF2B5EF4-FFF2-40B4-BE49-F238E27FC236}">
                    <a16:creationId xmlns:a16="http://schemas.microsoft.com/office/drawing/2014/main" id="{61DD4CE4-EED0-4562-9C71-6335BBE1114F}"/>
                  </a:ext>
                </a:extLst>
              </p:cNvPr>
              <p:cNvSpPr>
                <a:spLocks/>
              </p:cNvSpPr>
              <p:nvPr/>
            </p:nvSpPr>
            <p:spPr bwMode="auto">
              <a:xfrm>
                <a:off x="2154" y="1659"/>
                <a:ext cx="392" cy="667"/>
              </a:xfrm>
              <a:custGeom>
                <a:avLst/>
                <a:gdLst/>
                <a:ahLst/>
                <a:cxnLst>
                  <a:cxn ang="0">
                    <a:pos x="1487" y="65"/>
                  </a:cxn>
                  <a:cxn ang="0">
                    <a:pos x="1723" y="110"/>
                  </a:cxn>
                  <a:cxn ang="0">
                    <a:pos x="1862" y="369"/>
                  </a:cxn>
                  <a:cxn ang="0">
                    <a:pos x="1935" y="664"/>
                  </a:cxn>
                  <a:cxn ang="0">
                    <a:pos x="1817" y="1023"/>
                  </a:cxn>
                  <a:cxn ang="0">
                    <a:pos x="1832" y="1208"/>
                  </a:cxn>
                  <a:cxn ang="0">
                    <a:pos x="1979" y="1477"/>
                  </a:cxn>
                  <a:cxn ang="0">
                    <a:pos x="2363" y="1567"/>
                  </a:cxn>
                  <a:cxn ang="0">
                    <a:pos x="2344" y="1805"/>
                  </a:cxn>
                  <a:cxn ang="0">
                    <a:pos x="2137" y="1906"/>
                  </a:cxn>
                  <a:cxn ang="0">
                    <a:pos x="2009" y="2146"/>
                  </a:cxn>
                  <a:cxn ang="0">
                    <a:pos x="2172" y="2429"/>
                  </a:cxn>
                  <a:cxn ang="0">
                    <a:pos x="2245" y="2579"/>
                  </a:cxn>
                  <a:cxn ang="0">
                    <a:pos x="2373" y="2803"/>
                  </a:cxn>
                  <a:cxn ang="0">
                    <a:pos x="2557" y="2876"/>
                  </a:cxn>
                  <a:cxn ang="0">
                    <a:pos x="2377" y="3108"/>
                  </a:cxn>
                  <a:cxn ang="0">
                    <a:pos x="2304" y="3582"/>
                  </a:cxn>
                  <a:cxn ang="0">
                    <a:pos x="2490" y="3626"/>
                  </a:cxn>
                  <a:cxn ang="0">
                    <a:pos x="2479" y="3746"/>
                  </a:cxn>
                  <a:cxn ang="0">
                    <a:pos x="2392" y="4140"/>
                  </a:cxn>
                  <a:cxn ang="0">
                    <a:pos x="2213" y="4274"/>
                  </a:cxn>
                  <a:cxn ang="0">
                    <a:pos x="1625" y="4515"/>
                  </a:cxn>
                  <a:cxn ang="0">
                    <a:pos x="1354" y="4390"/>
                  </a:cxn>
                  <a:cxn ang="0">
                    <a:pos x="1019" y="4480"/>
                  </a:cxn>
                  <a:cxn ang="0">
                    <a:pos x="960" y="4211"/>
                  </a:cxn>
                  <a:cxn ang="0">
                    <a:pos x="778" y="4261"/>
                  </a:cxn>
                  <a:cxn ang="0">
                    <a:pos x="623" y="4462"/>
                  </a:cxn>
                  <a:cxn ang="0">
                    <a:pos x="221" y="4285"/>
                  </a:cxn>
                  <a:cxn ang="0">
                    <a:pos x="136" y="4126"/>
                  </a:cxn>
                  <a:cxn ang="0">
                    <a:pos x="0" y="4182"/>
                  </a:cxn>
                  <a:cxn ang="0">
                    <a:pos x="10" y="3467"/>
                  </a:cxn>
                  <a:cxn ang="0">
                    <a:pos x="325" y="2599"/>
                  </a:cxn>
                  <a:cxn ang="0">
                    <a:pos x="561" y="2116"/>
                  </a:cxn>
                  <a:cxn ang="0">
                    <a:pos x="925" y="1562"/>
                  </a:cxn>
                  <a:cxn ang="0">
                    <a:pos x="881" y="1148"/>
                  </a:cxn>
                  <a:cxn ang="0">
                    <a:pos x="1118" y="873"/>
                  </a:cxn>
                  <a:cxn ang="0">
                    <a:pos x="1413" y="339"/>
                  </a:cxn>
                  <a:cxn ang="0">
                    <a:pos x="1384" y="145"/>
                  </a:cxn>
                  <a:cxn ang="0">
                    <a:pos x="1344" y="0"/>
                  </a:cxn>
                </a:cxnLst>
                <a:rect l="0" t="0" r="r" b="b"/>
                <a:pathLst>
                  <a:path w="2618" h="4515">
                    <a:moveTo>
                      <a:pt x="1344" y="0"/>
                    </a:moveTo>
                    <a:lnTo>
                      <a:pt x="1487" y="65"/>
                    </a:lnTo>
                    <a:lnTo>
                      <a:pt x="1595" y="35"/>
                    </a:lnTo>
                    <a:lnTo>
                      <a:pt x="1723" y="110"/>
                    </a:lnTo>
                    <a:lnTo>
                      <a:pt x="1870" y="185"/>
                    </a:lnTo>
                    <a:lnTo>
                      <a:pt x="1862" y="369"/>
                    </a:lnTo>
                    <a:lnTo>
                      <a:pt x="1890" y="549"/>
                    </a:lnTo>
                    <a:lnTo>
                      <a:pt x="1935" y="664"/>
                    </a:lnTo>
                    <a:lnTo>
                      <a:pt x="1847" y="788"/>
                    </a:lnTo>
                    <a:lnTo>
                      <a:pt x="1817" y="1023"/>
                    </a:lnTo>
                    <a:lnTo>
                      <a:pt x="1713" y="1163"/>
                    </a:lnTo>
                    <a:lnTo>
                      <a:pt x="1832" y="1208"/>
                    </a:lnTo>
                    <a:lnTo>
                      <a:pt x="1847" y="1337"/>
                    </a:lnTo>
                    <a:lnTo>
                      <a:pt x="1979" y="1477"/>
                    </a:lnTo>
                    <a:lnTo>
                      <a:pt x="2127" y="1592"/>
                    </a:lnTo>
                    <a:lnTo>
                      <a:pt x="2363" y="1567"/>
                    </a:lnTo>
                    <a:lnTo>
                      <a:pt x="2378" y="1682"/>
                    </a:lnTo>
                    <a:lnTo>
                      <a:pt x="2344" y="1805"/>
                    </a:lnTo>
                    <a:lnTo>
                      <a:pt x="2200" y="1816"/>
                    </a:lnTo>
                    <a:lnTo>
                      <a:pt x="2137" y="1906"/>
                    </a:lnTo>
                    <a:lnTo>
                      <a:pt x="2122" y="2076"/>
                    </a:lnTo>
                    <a:lnTo>
                      <a:pt x="2009" y="2146"/>
                    </a:lnTo>
                    <a:lnTo>
                      <a:pt x="2137" y="2279"/>
                    </a:lnTo>
                    <a:lnTo>
                      <a:pt x="2172" y="2429"/>
                    </a:lnTo>
                    <a:lnTo>
                      <a:pt x="2314" y="2464"/>
                    </a:lnTo>
                    <a:lnTo>
                      <a:pt x="2245" y="2579"/>
                    </a:lnTo>
                    <a:lnTo>
                      <a:pt x="2314" y="2674"/>
                    </a:lnTo>
                    <a:lnTo>
                      <a:pt x="2373" y="2803"/>
                    </a:lnTo>
                    <a:lnTo>
                      <a:pt x="2497" y="2823"/>
                    </a:lnTo>
                    <a:lnTo>
                      <a:pt x="2557" y="2876"/>
                    </a:lnTo>
                    <a:lnTo>
                      <a:pt x="2618" y="2931"/>
                    </a:lnTo>
                    <a:lnTo>
                      <a:pt x="2377" y="3108"/>
                    </a:lnTo>
                    <a:lnTo>
                      <a:pt x="2230" y="3464"/>
                    </a:lnTo>
                    <a:lnTo>
                      <a:pt x="2304" y="3582"/>
                    </a:lnTo>
                    <a:lnTo>
                      <a:pt x="2418" y="3582"/>
                    </a:lnTo>
                    <a:lnTo>
                      <a:pt x="2490" y="3626"/>
                    </a:lnTo>
                    <a:lnTo>
                      <a:pt x="2388" y="3716"/>
                    </a:lnTo>
                    <a:lnTo>
                      <a:pt x="2479" y="3746"/>
                    </a:lnTo>
                    <a:lnTo>
                      <a:pt x="2283" y="3960"/>
                    </a:lnTo>
                    <a:lnTo>
                      <a:pt x="2392" y="4140"/>
                    </a:lnTo>
                    <a:lnTo>
                      <a:pt x="2374" y="4271"/>
                    </a:lnTo>
                    <a:lnTo>
                      <a:pt x="2213" y="4274"/>
                    </a:lnTo>
                    <a:lnTo>
                      <a:pt x="2002" y="4410"/>
                    </a:lnTo>
                    <a:lnTo>
                      <a:pt x="1625" y="4515"/>
                    </a:lnTo>
                    <a:lnTo>
                      <a:pt x="1384" y="4515"/>
                    </a:lnTo>
                    <a:lnTo>
                      <a:pt x="1354" y="4390"/>
                    </a:lnTo>
                    <a:lnTo>
                      <a:pt x="1133" y="4390"/>
                    </a:lnTo>
                    <a:lnTo>
                      <a:pt x="1019" y="4480"/>
                    </a:lnTo>
                    <a:lnTo>
                      <a:pt x="969" y="4393"/>
                    </a:lnTo>
                    <a:lnTo>
                      <a:pt x="960" y="4211"/>
                    </a:lnTo>
                    <a:lnTo>
                      <a:pt x="897" y="4109"/>
                    </a:lnTo>
                    <a:lnTo>
                      <a:pt x="778" y="4261"/>
                    </a:lnTo>
                    <a:lnTo>
                      <a:pt x="763" y="4410"/>
                    </a:lnTo>
                    <a:lnTo>
                      <a:pt x="623" y="4462"/>
                    </a:lnTo>
                    <a:lnTo>
                      <a:pt x="540" y="4363"/>
                    </a:lnTo>
                    <a:lnTo>
                      <a:pt x="221" y="4285"/>
                    </a:lnTo>
                    <a:lnTo>
                      <a:pt x="202" y="4178"/>
                    </a:lnTo>
                    <a:lnTo>
                      <a:pt x="136" y="4126"/>
                    </a:lnTo>
                    <a:lnTo>
                      <a:pt x="118" y="4290"/>
                    </a:lnTo>
                    <a:lnTo>
                      <a:pt x="0" y="4182"/>
                    </a:lnTo>
                    <a:lnTo>
                      <a:pt x="54" y="4000"/>
                    </a:lnTo>
                    <a:lnTo>
                      <a:pt x="10" y="3467"/>
                    </a:lnTo>
                    <a:lnTo>
                      <a:pt x="188" y="2848"/>
                    </a:lnTo>
                    <a:lnTo>
                      <a:pt x="325" y="2599"/>
                    </a:lnTo>
                    <a:lnTo>
                      <a:pt x="409" y="2309"/>
                    </a:lnTo>
                    <a:lnTo>
                      <a:pt x="561" y="2116"/>
                    </a:lnTo>
                    <a:lnTo>
                      <a:pt x="704" y="2011"/>
                    </a:lnTo>
                    <a:lnTo>
                      <a:pt x="925" y="1562"/>
                    </a:lnTo>
                    <a:lnTo>
                      <a:pt x="813" y="1352"/>
                    </a:lnTo>
                    <a:lnTo>
                      <a:pt x="881" y="1148"/>
                    </a:lnTo>
                    <a:lnTo>
                      <a:pt x="886" y="968"/>
                    </a:lnTo>
                    <a:lnTo>
                      <a:pt x="1118" y="873"/>
                    </a:lnTo>
                    <a:lnTo>
                      <a:pt x="1428" y="474"/>
                    </a:lnTo>
                    <a:lnTo>
                      <a:pt x="1413" y="339"/>
                    </a:lnTo>
                    <a:lnTo>
                      <a:pt x="1487" y="259"/>
                    </a:lnTo>
                    <a:lnTo>
                      <a:pt x="1384" y="145"/>
                    </a:lnTo>
                    <a:lnTo>
                      <a:pt x="1166" y="110"/>
                    </a:lnTo>
                    <a:lnTo>
                      <a:pt x="1344"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9" name="Freeform 41">
                <a:extLst>
                  <a:ext uri="{FF2B5EF4-FFF2-40B4-BE49-F238E27FC236}">
                    <a16:creationId xmlns:a16="http://schemas.microsoft.com/office/drawing/2014/main" id="{C27C9A5A-29A5-4E93-9A46-41C9C8267B86}"/>
                  </a:ext>
                </a:extLst>
              </p:cNvPr>
              <p:cNvSpPr>
                <a:spLocks/>
              </p:cNvSpPr>
              <p:nvPr/>
            </p:nvSpPr>
            <p:spPr bwMode="auto">
              <a:xfrm>
                <a:off x="2355" y="1327"/>
                <a:ext cx="544" cy="756"/>
              </a:xfrm>
              <a:custGeom>
                <a:avLst/>
                <a:gdLst/>
                <a:ahLst/>
                <a:cxnLst>
                  <a:cxn ang="0">
                    <a:pos x="1491" y="74"/>
                  </a:cxn>
                  <a:cxn ang="0">
                    <a:pos x="1737" y="313"/>
                  </a:cxn>
                  <a:cxn ang="0">
                    <a:pos x="2062" y="328"/>
                  </a:cxn>
                  <a:cxn ang="0">
                    <a:pos x="2106" y="613"/>
                  </a:cxn>
                  <a:cxn ang="0">
                    <a:pos x="2314" y="713"/>
                  </a:cxn>
                  <a:cxn ang="0">
                    <a:pos x="2299" y="936"/>
                  </a:cxn>
                  <a:cxn ang="0">
                    <a:pos x="2525" y="836"/>
                  </a:cxn>
                  <a:cxn ang="0">
                    <a:pos x="2875" y="718"/>
                  </a:cxn>
                  <a:cxn ang="0">
                    <a:pos x="3480" y="926"/>
                  </a:cxn>
                  <a:cxn ang="0">
                    <a:pos x="3617" y="1075"/>
                  </a:cxn>
                  <a:cxn ang="0">
                    <a:pos x="3214" y="1315"/>
                  </a:cxn>
                  <a:cxn ang="0">
                    <a:pos x="2939" y="1792"/>
                  </a:cxn>
                  <a:cxn ang="0">
                    <a:pos x="2964" y="2109"/>
                  </a:cxn>
                  <a:cxn ang="0">
                    <a:pos x="2924" y="2470"/>
                  </a:cxn>
                  <a:cxn ang="0">
                    <a:pos x="2905" y="2806"/>
                  </a:cxn>
                  <a:cxn ang="0">
                    <a:pos x="2991" y="3092"/>
                  </a:cxn>
                  <a:cxn ang="0">
                    <a:pos x="2526" y="3109"/>
                  </a:cxn>
                  <a:cxn ang="0">
                    <a:pos x="2185" y="3333"/>
                  </a:cxn>
                  <a:cxn ang="0">
                    <a:pos x="1726" y="3553"/>
                  </a:cxn>
                  <a:cxn ang="0">
                    <a:pos x="1532" y="3739"/>
                  </a:cxn>
                  <a:cxn ang="0">
                    <a:pos x="1294" y="4271"/>
                  </a:cxn>
                  <a:cxn ang="0">
                    <a:pos x="1339" y="4883"/>
                  </a:cxn>
                  <a:cxn ang="0">
                    <a:pos x="1156" y="5069"/>
                  </a:cxn>
                  <a:cxn ang="0">
                    <a:pos x="969" y="4918"/>
                  </a:cxn>
                  <a:cxn ang="0">
                    <a:pos x="969" y="4707"/>
                  </a:cxn>
                  <a:cxn ang="0">
                    <a:pos x="793" y="4522"/>
                  </a:cxn>
                  <a:cxn ang="0">
                    <a:pos x="777" y="4317"/>
                  </a:cxn>
                  <a:cxn ang="0">
                    <a:pos x="857" y="4061"/>
                  </a:cxn>
                  <a:cxn ang="0">
                    <a:pos x="1033" y="3927"/>
                  </a:cxn>
                  <a:cxn ang="0">
                    <a:pos x="784" y="3836"/>
                  </a:cxn>
                  <a:cxn ang="0">
                    <a:pos x="503" y="3583"/>
                  </a:cxn>
                  <a:cxn ang="0">
                    <a:pos x="369" y="3407"/>
                  </a:cxn>
                  <a:cxn ang="0">
                    <a:pos x="501" y="3034"/>
                  </a:cxn>
                  <a:cxn ang="0">
                    <a:pos x="544" y="2792"/>
                  </a:cxn>
                  <a:cxn ang="0">
                    <a:pos x="525" y="2431"/>
                  </a:cxn>
                  <a:cxn ang="0">
                    <a:pos x="250" y="2283"/>
                  </a:cxn>
                  <a:cxn ang="0">
                    <a:pos x="0" y="2248"/>
                  </a:cxn>
                  <a:cxn ang="0">
                    <a:pos x="575" y="1759"/>
                  </a:cxn>
                  <a:cxn ang="0">
                    <a:pos x="955" y="1161"/>
                  </a:cxn>
                  <a:cxn ang="0">
                    <a:pos x="1295" y="0"/>
                  </a:cxn>
                </a:cxnLst>
                <a:rect l="0" t="0" r="r" b="b"/>
                <a:pathLst>
                  <a:path w="3633" h="5119">
                    <a:moveTo>
                      <a:pt x="1295" y="0"/>
                    </a:moveTo>
                    <a:lnTo>
                      <a:pt x="1491" y="74"/>
                    </a:lnTo>
                    <a:lnTo>
                      <a:pt x="1683" y="194"/>
                    </a:lnTo>
                    <a:lnTo>
                      <a:pt x="1737" y="313"/>
                    </a:lnTo>
                    <a:lnTo>
                      <a:pt x="1860" y="209"/>
                    </a:lnTo>
                    <a:lnTo>
                      <a:pt x="2062" y="328"/>
                    </a:lnTo>
                    <a:lnTo>
                      <a:pt x="2195" y="503"/>
                    </a:lnTo>
                    <a:lnTo>
                      <a:pt x="2106" y="613"/>
                    </a:lnTo>
                    <a:lnTo>
                      <a:pt x="2225" y="608"/>
                    </a:lnTo>
                    <a:lnTo>
                      <a:pt x="2314" y="713"/>
                    </a:lnTo>
                    <a:lnTo>
                      <a:pt x="2431" y="776"/>
                    </a:lnTo>
                    <a:lnTo>
                      <a:pt x="2299" y="936"/>
                    </a:lnTo>
                    <a:lnTo>
                      <a:pt x="2377" y="956"/>
                    </a:lnTo>
                    <a:lnTo>
                      <a:pt x="2525" y="836"/>
                    </a:lnTo>
                    <a:lnTo>
                      <a:pt x="2756" y="763"/>
                    </a:lnTo>
                    <a:lnTo>
                      <a:pt x="2875" y="718"/>
                    </a:lnTo>
                    <a:lnTo>
                      <a:pt x="3318" y="926"/>
                    </a:lnTo>
                    <a:lnTo>
                      <a:pt x="3480" y="926"/>
                    </a:lnTo>
                    <a:lnTo>
                      <a:pt x="3633" y="926"/>
                    </a:lnTo>
                    <a:lnTo>
                      <a:pt x="3617" y="1075"/>
                    </a:lnTo>
                    <a:lnTo>
                      <a:pt x="3382" y="1285"/>
                    </a:lnTo>
                    <a:lnTo>
                      <a:pt x="3214" y="1315"/>
                    </a:lnTo>
                    <a:lnTo>
                      <a:pt x="3129" y="1513"/>
                    </a:lnTo>
                    <a:lnTo>
                      <a:pt x="2939" y="1792"/>
                    </a:lnTo>
                    <a:lnTo>
                      <a:pt x="3013" y="1899"/>
                    </a:lnTo>
                    <a:lnTo>
                      <a:pt x="2964" y="2109"/>
                    </a:lnTo>
                    <a:lnTo>
                      <a:pt x="3051" y="2256"/>
                    </a:lnTo>
                    <a:lnTo>
                      <a:pt x="2924" y="2470"/>
                    </a:lnTo>
                    <a:lnTo>
                      <a:pt x="2878" y="2641"/>
                    </a:lnTo>
                    <a:lnTo>
                      <a:pt x="2905" y="2806"/>
                    </a:lnTo>
                    <a:lnTo>
                      <a:pt x="3009" y="2912"/>
                    </a:lnTo>
                    <a:lnTo>
                      <a:pt x="2991" y="3092"/>
                    </a:lnTo>
                    <a:lnTo>
                      <a:pt x="2658" y="3184"/>
                    </a:lnTo>
                    <a:lnTo>
                      <a:pt x="2526" y="3109"/>
                    </a:lnTo>
                    <a:lnTo>
                      <a:pt x="2352" y="3152"/>
                    </a:lnTo>
                    <a:lnTo>
                      <a:pt x="2185" y="3333"/>
                    </a:lnTo>
                    <a:lnTo>
                      <a:pt x="1877" y="3544"/>
                    </a:lnTo>
                    <a:lnTo>
                      <a:pt x="1726" y="3553"/>
                    </a:lnTo>
                    <a:lnTo>
                      <a:pt x="1592" y="3624"/>
                    </a:lnTo>
                    <a:lnTo>
                      <a:pt x="1532" y="3739"/>
                    </a:lnTo>
                    <a:lnTo>
                      <a:pt x="1464" y="3967"/>
                    </a:lnTo>
                    <a:lnTo>
                      <a:pt x="1294" y="4271"/>
                    </a:lnTo>
                    <a:lnTo>
                      <a:pt x="1328" y="4564"/>
                    </a:lnTo>
                    <a:lnTo>
                      <a:pt x="1339" y="4883"/>
                    </a:lnTo>
                    <a:lnTo>
                      <a:pt x="1208" y="5119"/>
                    </a:lnTo>
                    <a:lnTo>
                      <a:pt x="1156" y="5069"/>
                    </a:lnTo>
                    <a:lnTo>
                      <a:pt x="1028" y="5047"/>
                    </a:lnTo>
                    <a:lnTo>
                      <a:pt x="969" y="4918"/>
                    </a:lnTo>
                    <a:lnTo>
                      <a:pt x="900" y="4824"/>
                    </a:lnTo>
                    <a:lnTo>
                      <a:pt x="969" y="4707"/>
                    </a:lnTo>
                    <a:lnTo>
                      <a:pt x="825" y="4672"/>
                    </a:lnTo>
                    <a:lnTo>
                      <a:pt x="793" y="4522"/>
                    </a:lnTo>
                    <a:lnTo>
                      <a:pt x="665" y="4391"/>
                    </a:lnTo>
                    <a:lnTo>
                      <a:pt x="777" y="4317"/>
                    </a:lnTo>
                    <a:lnTo>
                      <a:pt x="792" y="4146"/>
                    </a:lnTo>
                    <a:lnTo>
                      <a:pt x="857" y="4061"/>
                    </a:lnTo>
                    <a:lnTo>
                      <a:pt x="1002" y="4050"/>
                    </a:lnTo>
                    <a:lnTo>
                      <a:pt x="1033" y="3927"/>
                    </a:lnTo>
                    <a:lnTo>
                      <a:pt x="1020" y="3811"/>
                    </a:lnTo>
                    <a:lnTo>
                      <a:pt x="784" y="3836"/>
                    </a:lnTo>
                    <a:lnTo>
                      <a:pt x="647" y="3731"/>
                    </a:lnTo>
                    <a:lnTo>
                      <a:pt x="503" y="3583"/>
                    </a:lnTo>
                    <a:lnTo>
                      <a:pt x="485" y="3454"/>
                    </a:lnTo>
                    <a:lnTo>
                      <a:pt x="369" y="3407"/>
                    </a:lnTo>
                    <a:lnTo>
                      <a:pt x="473" y="3268"/>
                    </a:lnTo>
                    <a:lnTo>
                      <a:pt x="501" y="3034"/>
                    </a:lnTo>
                    <a:lnTo>
                      <a:pt x="590" y="2911"/>
                    </a:lnTo>
                    <a:lnTo>
                      <a:pt x="544" y="2792"/>
                    </a:lnTo>
                    <a:lnTo>
                      <a:pt x="515" y="2611"/>
                    </a:lnTo>
                    <a:lnTo>
                      <a:pt x="525" y="2431"/>
                    </a:lnTo>
                    <a:lnTo>
                      <a:pt x="378" y="2356"/>
                    </a:lnTo>
                    <a:lnTo>
                      <a:pt x="250" y="2283"/>
                    </a:lnTo>
                    <a:lnTo>
                      <a:pt x="143" y="2310"/>
                    </a:lnTo>
                    <a:lnTo>
                      <a:pt x="0" y="2248"/>
                    </a:lnTo>
                    <a:lnTo>
                      <a:pt x="378" y="1913"/>
                    </a:lnTo>
                    <a:lnTo>
                      <a:pt x="575" y="1759"/>
                    </a:lnTo>
                    <a:lnTo>
                      <a:pt x="807" y="1325"/>
                    </a:lnTo>
                    <a:lnTo>
                      <a:pt x="955" y="1161"/>
                    </a:lnTo>
                    <a:lnTo>
                      <a:pt x="1195" y="517"/>
                    </a:lnTo>
                    <a:lnTo>
                      <a:pt x="1295"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0" name="Freeform 42">
                <a:extLst>
                  <a:ext uri="{FF2B5EF4-FFF2-40B4-BE49-F238E27FC236}">
                    <a16:creationId xmlns:a16="http://schemas.microsoft.com/office/drawing/2014/main" id="{AA46EB47-6BF2-47DA-8619-F70C48E2E9F8}"/>
                  </a:ext>
                </a:extLst>
              </p:cNvPr>
              <p:cNvSpPr>
                <a:spLocks/>
              </p:cNvSpPr>
              <p:nvPr/>
            </p:nvSpPr>
            <p:spPr bwMode="auto">
              <a:xfrm>
                <a:off x="2536" y="1463"/>
                <a:ext cx="464" cy="672"/>
              </a:xfrm>
              <a:custGeom>
                <a:avLst/>
                <a:gdLst/>
                <a:ahLst/>
                <a:cxnLst>
                  <a:cxn ang="0">
                    <a:pos x="2005" y="20"/>
                  </a:cxn>
                  <a:cxn ang="0">
                    <a:pos x="2163" y="95"/>
                  </a:cxn>
                  <a:cxn ang="0">
                    <a:pos x="2116" y="439"/>
                  </a:cxn>
                  <a:cxn ang="0">
                    <a:pos x="2246" y="694"/>
                  </a:cxn>
                  <a:cxn ang="0">
                    <a:pos x="2269" y="1289"/>
                  </a:cxn>
                  <a:cxn ang="0">
                    <a:pos x="2477" y="1839"/>
                  </a:cxn>
                  <a:cxn ang="0">
                    <a:pos x="2375" y="2090"/>
                  </a:cxn>
                  <a:cxn ang="0">
                    <a:pos x="2393" y="2402"/>
                  </a:cxn>
                  <a:cxn ang="0">
                    <a:pos x="2196" y="2537"/>
                  </a:cxn>
                  <a:cxn ang="0">
                    <a:pos x="1828" y="2921"/>
                  </a:cxn>
                  <a:cxn ang="0">
                    <a:pos x="1584" y="2945"/>
                  </a:cxn>
                  <a:cxn ang="0">
                    <a:pos x="1281" y="2970"/>
                  </a:cxn>
                  <a:cxn ang="0">
                    <a:pos x="1119" y="2953"/>
                  </a:cxn>
                  <a:cxn ang="0">
                    <a:pos x="939" y="3006"/>
                  </a:cxn>
                  <a:cxn ang="0">
                    <a:pos x="1001" y="3276"/>
                  </a:cxn>
                  <a:cxn ang="0">
                    <a:pos x="804" y="3539"/>
                  </a:cxn>
                  <a:cxn ang="0">
                    <a:pos x="576" y="3575"/>
                  </a:cxn>
                  <a:cxn ang="0">
                    <a:pos x="316" y="3599"/>
                  </a:cxn>
                  <a:cxn ang="0">
                    <a:pos x="197" y="3389"/>
                  </a:cxn>
                  <a:cxn ang="0">
                    <a:pos x="0" y="3356"/>
                  </a:cxn>
                  <a:cxn ang="0">
                    <a:pos x="96" y="2921"/>
                  </a:cxn>
                  <a:cxn ang="0">
                    <a:pos x="202" y="2438"/>
                  </a:cxn>
                  <a:cxn ang="0">
                    <a:pos x="304" y="2163"/>
                  </a:cxn>
                  <a:cxn ang="0">
                    <a:pos x="533" y="2095"/>
                  </a:cxn>
                  <a:cxn ang="0">
                    <a:pos x="911" y="1784"/>
                  </a:cxn>
                  <a:cxn ang="0">
                    <a:pos x="1159" y="1808"/>
                  </a:cxn>
                  <a:cxn ang="0">
                    <a:pos x="1438" y="1588"/>
                  </a:cxn>
                  <a:cxn ang="0">
                    <a:pos x="1336" y="1373"/>
                  </a:cxn>
                  <a:cxn ang="0">
                    <a:pos x="1474" y="1065"/>
                  </a:cxn>
                  <a:cxn ang="0">
                    <a:pos x="1442" y="778"/>
                  </a:cxn>
                  <a:cxn ang="0">
                    <a:pos x="1537" y="467"/>
                  </a:cxn>
                  <a:cxn ang="0">
                    <a:pos x="1738" y="287"/>
                  </a:cxn>
                  <a:cxn ang="0">
                    <a:pos x="1938" y="0"/>
                  </a:cxn>
                </a:cxnLst>
                <a:rect l="0" t="0" r="r" b="b"/>
                <a:pathLst>
                  <a:path w="2477" h="3635">
                    <a:moveTo>
                      <a:pt x="1938" y="0"/>
                    </a:moveTo>
                    <a:lnTo>
                      <a:pt x="2005" y="20"/>
                    </a:lnTo>
                    <a:lnTo>
                      <a:pt x="2076" y="84"/>
                    </a:lnTo>
                    <a:lnTo>
                      <a:pt x="2163" y="95"/>
                    </a:lnTo>
                    <a:lnTo>
                      <a:pt x="2087" y="287"/>
                    </a:lnTo>
                    <a:lnTo>
                      <a:pt x="2116" y="439"/>
                    </a:lnTo>
                    <a:lnTo>
                      <a:pt x="2174" y="588"/>
                    </a:lnTo>
                    <a:lnTo>
                      <a:pt x="2246" y="694"/>
                    </a:lnTo>
                    <a:lnTo>
                      <a:pt x="2171" y="810"/>
                    </a:lnTo>
                    <a:lnTo>
                      <a:pt x="2269" y="1289"/>
                    </a:lnTo>
                    <a:lnTo>
                      <a:pt x="2325" y="1653"/>
                    </a:lnTo>
                    <a:lnTo>
                      <a:pt x="2477" y="1839"/>
                    </a:lnTo>
                    <a:lnTo>
                      <a:pt x="2400" y="1950"/>
                    </a:lnTo>
                    <a:lnTo>
                      <a:pt x="2375" y="2090"/>
                    </a:lnTo>
                    <a:lnTo>
                      <a:pt x="2340" y="2234"/>
                    </a:lnTo>
                    <a:lnTo>
                      <a:pt x="2393" y="2402"/>
                    </a:lnTo>
                    <a:lnTo>
                      <a:pt x="2324" y="2478"/>
                    </a:lnTo>
                    <a:lnTo>
                      <a:pt x="2196" y="2537"/>
                    </a:lnTo>
                    <a:lnTo>
                      <a:pt x="2041" y="2681"/>
                    </a:lnTo>
                    <a:lnTo>
                      <a:pt x="1828" y="2921"/>
                    </a:lnTo>
                    <a:lnTo>
                      <a:pt x="1734" y="2909"/>
                    </a:lnTo>
                    <a:lnTo>
                      <a:pt x="1584" y="2945"/>
                    </a:lnTo>
                    <a:lnTo>
                      <a:pt x="1413" y="3048"/>
                    </a:lnTo>
                    <a:lnTo>
                      <a:pt x="1281" y="2970"/>
                    </a:lnTo>
                    <a:lnTo>
                      <a:pt x="1194" y="3003"/>
                    </a:lnTo>
                    <a:lnTo>
                      <a:pt x="1119" y="2953"/>
                    </a:lnTo>
                    <a:lnTo>
                      <a:pt x="1029" y="2952"/>
                    </a:lnTo>
                    <a:lnTo>
                      <a:pt x="939" y="3006"/>
                    </a:lnTo>
                    <a:lnTo>
                      <a:pt x="1002" y="3123"/>
                    </a:lnTo>
                    <a:lnTo>
                      <a:pt x="1001" y="3276"/>
                    </a:lnTo>
                    <a:lnTo>
                      <a:pt x="946" y="3376"/>
                    </a:lnTo>
                    <a:lnTo>
                      <a:pt x="804" y="3539"/>
                    </a:lnTo>
                    <a:lnTo>
                      <a:pt x="674" y="3495"/>
                    </a:lnTo>
                    <a:lnTo>
                      <a:pt x="576" y="3575"/>
                    </a:lnTo>
                    <a:lnTo>
                      <a:pt x="438" y="3635"/>
                    </a:lnTo>
                    <a:lnTo>
                      <a:pt x="316" y="3599"/>
                    </a:lnTo>
                    <a:lnTo>
                      <a:pt x="245" y="3519"/>
                    </a:lnTo>
                    <a:lnTo>
                      <a:pt x="197" y="3389"/>
                    </a:lnTo>
                    <a:lnTo>
                      <a:pt x="51" y="3401"/>
                    </a:lnTo>
                    <a:lnTo>
                      <a:pt x="0" y="3356"/>
                    </a:lnTo>
                    <a:lnTo>
                      <a:pt x="103" y="3168"/>
                    </a:lnTo>
                    <a:lnTo>
                      <a:pt x="96" y="2921"/>
                    </a:lnTo>
                    <a:lnTo>
                      <a:pt x="68" y="2681"/>
                    </a:lnTo>
                    <a:lnTo>
                      <a:pt x="202" y="2438"/>
                    </a:lnTo>
                    <a:lnTo>
                      <a:pt x="257" y="2250"/>
                    </a:lnTo>
                    <a:lnTo>
                      <a:pt x="304" y="2163"/>
                    </a:lnTo>
                    <a:lnTo>
                      <a:pt x="411" y="2103"/>
                    </a:lnTo>
                    <a:lnTo>
                      <a:pt x="533" y="2095"/>
                    </a:lnTo>
                    <a:lnTo>
                      <a:pt x="781" y="1927"/>
                    </a:lnTo>
                    <a:lnTo>
                      <a:pt x="911" y="1784"/>
                    </a:lnTo>
                    <a:lnTo>
                      <a:pt x="1052" y="1748"/>
                    </a:lnTo>
                    <a:lnTo>
                      <a:pt x="1159" y="1808"/>
                    </a:lnTo>
                    <a:lnTo>
                      <a:pt x="1427" y="1732"/>
                    </a:lnTo>
                    <a:lnTo>
                      <a:pt x="1438" y="1588"/>
                    </a:lnTo>
                    <a:lnTo>
                      <a:pt x="1356" y="1504"/>
                    </a:lnTo>
                    <a:lnTo>
                      <a:pt x="1336" y="1373"/>
                    </a:lnTo>
                    <a:lnTo>
                      <a:pt x="1371" y="1233"/>
                    </a:lnTo>
                    <a:lnTo>
                      <a:pt x="1474" y="1065"/>
                    </a:lnTo>
                    <a:lnTo>
                      <a:pt x="1403" y="946"/>
                    </a:lnTo>
                    <a:lnTo>
                      <a:pt x="1442" y="778"/>
                    </a:lnTo>
                    <a:lnTo>
                      <a:pt x="1383" y="694"/>
                    </a:lnTo>
                    <a:lnTo>
                      <a:pt x="1537" y="467"/>
                    </a:lnTo>
                    <a:lnTo>
                      <a:pt x="1604" y="311"/>
                    </a:lnTo>
                    <a:lnTo>
                      <a:pt x="1738" y="287"/>
                    </a:lnTo>
                    <a:lnTo>
                      <a:pt x="1923" y="120"/>
                    </a:lnTo>
                    <a:lnTo>
                      <a:pt x="1938"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1" name="Freeform 43">
                <a:extLst>
                  <a:ext uri="{FF2B5EF4-FFF2-40B4-BE49-F238E27FC236}">
                    <a16:creationId xmlns:a16="http://schemas.microsoft.com/office/drawing/2014/main" id="{EFC668B1-00F9-4E81-ABDD-5DBEF2691EE1}"/>
                  </a:ext>
                </a:extLst>
              </p:cNvPr>
              <p:cNvSpPr>
                <a:spLocks/>
              </p:cNvSpPr>
              <p:nvPr/>
            </p:nvSpPr>
            <p:spPr bwMode="auto">
              <a:xfrm>
                <a:off x="2927" y="1466"/>
                <a:ext cx="336" cy="428"/>
              </a:xfrm>
              <a:custGeom>
                <a:avLst/>
                <a:gdLst/>
                <a:ahLst/>
                <a:cxnLst>
                  <a:cxn ang="0">
                    <a:pos x="75" y="84"/>
                  </a:cxn>
                  <a:cxn ang="0">
                    <a:pos x="260" y="60"/>
                  </a:cxn>
                  <a:cxn ang="0">
                    <a:pos x="531" y="0"/>
                  </a:cxn>
                  <a:cxn ang="0">
                    <a:pos x="827" y="140"/>
                  </a:cxn>
                  <a:cxn ang="0">
                    <a:pos x="1268" y="439"/>
                  </a:cxn>
                  <a:cxn ang="0">
                    <a:pos x="1417" y="634"/>
                  </a:cxn>
                  <a:cxn ang="0">
                    <a:pos x="1575" y="810"/>
                  </a:cxn>
                  <a:cxn ang="0">
                    <a:pos x="1740" y="870"/>
                  </a:cxn>
                  <a:cxn ang="0">
                    <a:pos x="1795" y="958"/>
                  </a:cxn>
                  <a:cxn ang="0">
                    <a:pos x="1728" y="993"/>
                  </a:cxn>
                  <a:cxn ang="0">
                    <a:pos x="1618" y="981"/>
                  </a:cxn>
                  <a:cxn ang="0">
                    <a:pos x="1527" y="1113"/>
                  </a:cxn>
                  <a:cxn ang="0">
                    <a:pos x="1417" y="1293"/>
                  </a:cxn>
                  <a:cxn ang="0">
                    <a:pos x="1291" y="1492"/>
                  </a:cxn>
                  <a:cxn ang="0">
                    <a:pos x="1197" y="1508"/>
                  </a:cxn>
                  <a:cxn ang="0">
                    <a:pos x="1175" y="1638"/>
                  </a:cxn>
                  <a:cxn ang="0">
                    <a:pos x="1145" y="1803"/>
                  </a:cxn>
                  <a:cxn ang="0">
                    <a:pos x="1079" y="1867"/>
                  </a:cxn>
                  <a:cxn ang="0">
                    <a:pos x="1127" y="2046"/>
                  </a:cxn>
                  <a:cxn ang="0">
                    <a:pos x="1113" y="2210"/>
                  </a:cxn>
                  <a:cxn ang="0">
                    <a:pos x="1020" y="2234"/>
                  </a:cxn>
                  <a:cxn ang="0">
                    <a:pos x="968" y="2318"/>
                  </a:cxn>
                  <a:cxn ang="0">
                    <a:pos x="724" y="2091"/>
                  </a:cxn>
                  <a:cxn ang="0">
                    <a:pos x="606" y="2071"/>
                  </a:cxn>
                  <a:cxn ang="0">
                    <a:pos x="441" y="2115"/>
                  </a:cxn>
                  <a:cxn ang="0">
                    <a:pos x="287" y="2079"/>
                  </a:cxn>
                  <a:cxn ang="0">
                    <a:pos x="311" y="1939"/>
                  </a:cxn>
                  <a:cxn ang="0">
                    <a:pos x="390" y="1827"/>
                  </a:cxn>
                  <a:cxn ang="0">
                    <a:pos x="236" y="1640"/>
                  </a:cxn>
                  <a:cxn ang="0">
                    <a:pos x="181" y="1277"/>
                  </a:cxn>
                  <a:cxn ang="0">
                    <a:pos x="83" y="798"/>
                  </a:cxn>
                  <a:cxn ang="0">
                    <a:pos x="157" y="682"/>
                  </a:cxn>
                  <a:cxn ang="0">
                    <a:pos x="87" y="575"/>
                  </a:cxn>
                  <a:cxn ang="0">
                    <a:pos x="28" y="431"/>
                  </a:cxn>
                  <a:cxn ang="0">
                    <a:pos x="0" y="275"/>
                  </a:cxn>
                  <a:cxn ang="0">
                    <a:pos x="75" y="84"/>
                  </a:cxn>
                </a:cxnLst>
                <a:rect l="0" t="0" r="r" b="b"/>
                <a:pathLst>
                  <a:path w="1795" h="2318">
                    <a:moveTo>
                      <a:pt x="75" y="84"/>
                    </a:moveTo>
                    <a:lnTo>
                      <a:pt x="260" y="60"/>
                    </a:lnTo>
                    <a:lnTo>
                      <a:pt x="531" y="0"/>
                    </a:lnTo>
                    <a:lnTo>
                      <a:pt x="827" y="140"/>
                    </a:lnTo>
                    <a:lnTo>
                      <a:pt x="1268" y="439"/>
                    </a:lnTo>
                    <a:lnTo>
                      <a:pt x="1417" y="634"/>
                    </a:lnTo>
                    <a:lnTo>
                      <a:pt x="1575" y="810"/>
                    </a:lnTo>
                    <a:lnTo>
                      <a:pt x="1740" y="870"/>
                    </a:lnTo>
                    <a:lnTo>
                      <a:pt x="1795" y="958"/>
                    </a:lnTo>
                    <a:lnTo>
                      <a:pt x="1728" y="993"/>
                    </a:lnTo>
                    <a:lnTo>
                      <a:pt x="1618" y="981"/>
                    </a:lnTo>
                    <a:lnTo>
                      <a:pt x="1527" y="1113"/>
                    </a:lnTo>
                    <a:lnTo>
                      <a:pt x="1417" y="1293"/>
                    </a:lnTo>
                    <a:lnTo>
                      <a:pt x="1291" y="1492"/>
                    </a:lnTo>
                    <a:lnTo>
                      <a:pt x="1197" y="1508"/>
                    </a:lnTo>
                    <a:lnTo>
                      <a:pt x="1175" y="1638"/>
                    </a:lnTo>
                    <a:lnTo>
                      <a:pt x="1145" y="1803"/>
                    </a:lnTo>
                    <a:lnTo>
                      <a:pt x="1079" y="1867"/>
                    </a:lnTo>
                    <a:lnTo>
                      <a:pt x="1127" y="2046"/>
                    </a:lnTo>
                    <a:lnTo>
                      <a:pt x="1113" y="2210"/>
                    </a:lnTo>
                    <a:lnTo>
                      <a:pt x="1020" y="2234"/>
                    </a:lnTo>
                    <a:lnTo>
                      <a:pt x="968" y="2318"/>
                    </a:lnTo>
                    <a:lnTo>
                      <a:pt x="724" y="2091"/>
                    </a:lnTo>
                    <a:lnTo>
                      <a:pt x="606" y="2071"/>
                    </a:lnTo>
                    <a:lnTo>
                      <a:pt x="441" y="2115"/>
                    </a:lnTo>
                    <a:lnTo>
                      <a:pt x="287" y="2079"/>
                    </a:lnTo>
                    <a:lnTo>
                      <a:pt x="311" y="1939"/>
                    </a:lnTo>
                    <a:lnTo>
                      <a:pt x="390" y="1827"/>
                    </a:lnTo>
                    <a:lnTo>
                      <a:pt x="236" y="1640"/>
                    </a:lnTo>
                    <a:lnTo>
                      <a:pt x="181" y="1277"/>
                    </a:lnTo>
                    <a:lnTo>
                      <a:pt x="83" y="798"/>
                    </a:lnTo>
                    <a:lnTo>
                      <a:pt x="157" y="682"/>
                    </a:lnTo>
                    <a:lnTo>
                      <a:pt x="87" y="575"/>
                    </a:lnTo>
                    <a:lnTo>
                      <a:pt x="28" y="431"/>
                    </a:lnTo>
                    <a:lnTo>
                      <a:pt x="0" y="275"/>
                    </a:lnTo>
                    <a:lnTo>
                      <a:pt x="75" y="84"/>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2" name="Freeform 44">
                <a:extLst>
                  <a:ext uri="{FF2B5EF4-FFF2-40B4-BE49-F238E27FC236}">
                    <a16:creationId xmlns:a16="http://schemas.microsoft.com/office/drawing/2014/main" id="{CFA2E0AC-BD79-44CD-8388-12577BBE835E}"/>
                  </a:ext>
                </a:extLst>
              </p:cNvPr>
              <p:cNvSpPr>
                <a:spLocks/>
              </p:cNvSpPr>
              <p:nvPr/>
            </p:nvSpPr>
            <p:spPr bwMode="auto">
              <a:xfrm>
                <a:off x="3159" y="2042"/>
                <a:ext cx="142" cy="169"/>
              </a:xfrm>
              <a:custGeom>
                <a:avLst/>
                <a:gdLst/>
                <a:ahLst/>
                <a:cxnLst>
                  <a:cxn ang="0">
                    <a:pos x="108" y="0"/>
                  </a:cxn>
                  <a:cxn ang="0">
                    <a:pos x="220" y="5"/>
                  </a:cxn>
                  <a:cxn ang="0">
                    <a:pos x="546" y="135"/>
                  </a:cxn>
                  <a:cxn ang="0">
                    <a:pos x="723" y="289"/>
                  </a:cxn>
                  <a:cxn ang="0">
                    <a:pos x="950" y="513"/>
                  </a:cxn>
                  <a:cxn ang="0">
                    <a:pos x="678" y="673"/>
                  </a:cxn>
                  <a:cxn ang="0">
                    <a:pos x="521" y="881"/>
                  </a:cxn>
                  <a:cxn ang="0">
                    <a:pos x="413" y="1031"/>
                  </a:cxn>
                  <a:cxn ang="0">
                    <a:pos x="368" y="1148"/>
                  </a:cxn>
                  <a:cxn ang="0">
                    <a:pos x="237" y="1111"/>
                  </a:cxn>
                  <a:cxn ang="0">
                    <a:pos x="88" y="991"/>
                  </a:cxn>
                  <a:cxn ang="0">
                    <a:pos x="19" y="811"/>
                  </a:cxn>
                  <a:cxn ang="0">
                    <a:pos x="0" y="625"/>
                  </a:cxn>
                  <a:cxn ang="0">
                    <a:pos x="151" y="629"/>
                  </a:cxn>
                  <a:cxn ang="0">
                    <a:pos x="234" y="553"/>
                  </a:cxn>
                  <a:cxn ang="0">
                    <a:pos x="268" y="281"/>
                  </a:cxn>
                  <a:cxn ang="0">
                    <a:pos x="150" y="120"/>
                  </a:cxn>
                  <a:cxn ang="0">
                    <a:pos x="108" y="0"/>
                  </a:cxn>
                </a:cxnLst>
                <a:rect l="0" t="0" r="r" b="b"/>
                <a:pathLst>
                  <a:path w="950" h="1148">
                    <a:moveTo>
                      <a:pt x="108" y="0"/>
                    </a:moveTo>
                    <a:lnTo>
                      <a:pt x="220" y="5"/>
                    </a:lnTo>
                    <a:lnTo>
                      <a:pt x="546" y="135"/>
                    </a:lnTo>
                    <a:lnTo>
                      <a:pt x="723" y="289"/>
                    </a:lnTo>
                    <a:lnTo>
                      <a:pt x="950" y="513"/>
                    </a:lnTo>
                    <a:lnTo>
                      <a:pt x="678" y="673"/>
                    </a:lnTo>
                    <a:lnTo>
                      <a:pt x="521" y="881"/>
                    </a:lnTo>
                    <a:lnTo>
                      <a:pt x="413" y="1031"/>
                    </a:lnTo>
                    <a:lnTo>
                      <a:pt x="368" y="1148"/>
                    </a:lnTo>
                    <a:lnTo>
                      <a:pt x="237" y="1111"/>
                    </a:lnTo>
                    <a:lnTo>
                      <a:pt x="88" y="991"/>
                    </a:lnTo>
                    <a:lnTo>
                      <a:pt x="19" y="811"/>
                    </a:lnTo>
                    <a:lnTo>
                      <a:pt x="0" y="625"/>
                    </a:lnTo>
                    <a:lnTo>
                      <a:pt x="151" y="629"/>
                    </a:lnTo>
                    <a:lnTo>
                      <a:pt x="234" y="553"/>
                    </a:lnTo>
                    <a:lnTo>
                      <a:pt x="268" y="281"/>
                    </a:lnTo>
                    <a:lnTo>
                      <a:pt x="150" y="120"/>
                    </a:lnTo>
                    <a:lnTo>
                      <a:pt x="108"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3" name="Freeform 45">
                <a:extLst>
                  <a:ext uri="{FF2B5EF4-FFF2-40B4-BE49-F238E27FC236}">
                    <a16:creationId xmlns:a16="http://schemas.microsoft.com/office/drawing/2014/main" id="{480F13B8-8141-45E1-BDEF-233E09BF6AF7}"/>
                  </a:ext>
                </a:extLst>
              </p:cNvPr>
              <p:cNvSpPr>
                <a:spLocks/>
              </p:cNvSpPr>
              <p:nvPr/>
            </p:nvSpPr>
            <p:spPr bwMode="auto">
              <a:xfrm>
                <a:off x="3158" y="1976"/>
                <a:ext cx="254" cy="142"/>
              </a:xfrm>
              <a:custGeom>
                <a:avLst/>
                <a:gdLst/>
                <a:ahLst/>
                <a:cxnLst>
                  <a:cxn ang="0">
                    <a:pos x="1359" y="56"/>
                  </a:cxn>
                  <a:cxn ang="0">
                    <a:pos x="1225" y="24"/>
                  </a:cxn>
                  <a:cxn ang="0">
                    <a:pos x="1111" y="36"/>
                  </a:cxn>
                  <a:cxn ang="0">
                    <a:pos x="1004" y="0"/>
                  </a:cxn>
                  <a:cxn ang="0">
                    <a:pos x="882" y="128"/>
                  </a:cxn>
                  <a:cxn ang="0">
                    <a:pos x="744" y="203"/>
                  </a:cxn>
                  <a:cxn ang="0">
                    <a:pos x="516" y="188"/>
                  </a:cxn>
                  <a:cxn ang="0">
                    <a:pos x="355" y="60"/>
                  </a:cxn>
                  <a:cxn ang="0">
                    <a:pos x="236" y="0"/>
                  </a:cxn>
                  <a:cxn ang="0">
                    <a:pos x="0" y="88"/>
                  </a:cxn>
                  <a:cxn ang="0">
                    <a:pos x="95" y="355"/>
                  </a:cxn>
                  <a:cxn ang="0">
                    <a:pos x="186" y="360"/>
                  </a:cxn>
                  <a:cxn ang="0">
                    <a:pos x="444" y="463"/>
                  </a:cxn>
                  <a:cxn ang="0">
                    <a:pos x="599" y="598"/>
                  </a:cxn>
                  <a:cxn ang="0">
                    <a:pos x="768" y="766"/>
                  </a:cxn>
                  <a:cxn ang="0">
                    <a:pos x="1016" y="491"/>
                  </a:cxn>
                  <a:cxn ang="0">
                    <a:pos x="1225" y="287"/>
                  </a:cxn>
                  <a:cxn ang="0">
                    <a:pos x="1359" y="56"/>
                  </a:cxn>
                </a:cxnLst>
                <a:rect l="0" t="0" r="r" b="b"/>
                <a:pathLst>
                  <a:path w="1359" h="766">
                    <a:moveTo>
                      <a:pt x="1359" y="56"/>
                    </a:moveTo>
                    <a:lnTo>
                      <a:pt x="1225" y="24"/>
                    </a:lnTo>
                    <a:lnTo>
                      <a:pt x="1111" y="36"/>
                    </a:lnTo>
                    <a:lnTo>
                      <a:pt x="1004" y="0"/>
                    </a:lnTo>
                    <a:lnTo>
                      <a:pt x="882" y="128"/>
                    </a:lnTo>
                    <a:lnTo>
                      <a:pt x="744" y="203"/>
                    </a:lnTo>
                    <a:lnTo>
                      <a:pt x="516" y="188"/>
                    </a:lnTo>
                    <a:lnTo>
                      <a:pt x="355" y="60"/>
                    </a:lnTo>
                    <a:lnTo>
                      <a:pt x="236" y="0"/>
                    </a:lnTo>
                    <a:lnTo>
                      <a:pt x="0" y="88"/>
                    </a:lnTo>
                    <a:lnTo>
                      <a:pt x="95" y="355"/>
                    </a:lnTo>
                    <a:lnTo>
                      <a:pt x="186" y="360"/>
                    </a:lnTo>
                    <a:lnTo>
                      <a:pt x="444" y="463"/>
                    </a:lnTo>
                    <a:lnTo>
                      <a:pt x="599" y="598"/>
                    </a:lnTo>
                    <a:lnTo>
                      <a:pt x="768" y="766"/>
                    </a:lnTo>
                    <a:lnTo>
                      <a:pt x="1016" y="491"/>
                    </a:lnTo>
                    <a:lnTo>
                      <a:pt x="1225" y="287"/>
                    </a:lnTo>
                    <a:lnTo>
                      <a:pt x="1359" y="5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4" name="Freeform 46">
                <a:extLst>
                  <a:ext uri="{FF2B5EF4-FFF2-40B4-BE49-F238E27FC236}">
                    <a16:creationId xmlns:a16="http://schemas.microsoft.com/office/drawing/2014/main" id="{84792BA9-711F-4E25-AA6B-0E2F44760F3E}"/>
                  </a:ext>
                </a:extLst>
              </p:cNvPr>
              <p:cNvSpPr>
                <a:spLocks/>
              </p:cNvSpPr>
              <p:nvPr/>
            </p:nvSpPr>
            <p:spPr bwMode="auto">
              <a:xfrm>
                <a:off x="2919" y="1834"/>
                <a:ext cx="522" cy="186"/>
              </a:xfrm>
              <a:custGeom>
                <a:avLst/>
                <a:gdLst/>
                <a:ahLst/>
                <a:cxnLst>
                  <a:cxn ang="0">
                    <a:pos x="1155" y="216"/>
                  </a:cxn>
                  <a:cxn ang="0">
                    <a:pos x="1212" y="267"/>
                  </a:cxn>
                  <a:cxn ang="0">
                    <a:pos x="1296" y="242"/>
                  </a:cxn>
                  <a:cxn ang="0">
                    <a:pos x="1369" y="326"/>
                  </a:cxn>
                  <a:cxn ang="0">
                    <a:pos x="1495" y="255"/>
                  </a:cxn>
                  <a:cxn ang="0">
                    <a:pos x="1602" y="148"/>
                  </a:cxn>
                  <a:cxn ang="0">
                    <a:pos x="1736" y="52"/>
                  </a:cxn>
                  <a:cxn ang="0">
                    <a:pos x="1771" y="160"/>
                  </a:cxn>
                  <a:cxn ang="0">
                    <a:pos x="1783" y="347"/>
                  </a:cxn>
                  <a:cxn ang="0">
                    <a:pos x="1810" y="495"/>
                  </a:cxn>
                  <a:cxn ang="0">
                    <a:pos x="1944" y="479"/>
                  </a:cxn>
                  <a:cxn ang="0">
                    <a:pos x="2055" y="339"/>
                  </a:cxn>
                  <a:cxn ang="0">
                    <a:pos x="2267" y="323"/>
                  </a:cxn>
                  <a:cxn ang="0">
                    <a:pos x="2417" y="251"/>
                  </a:cxn>
                  <a:cxn ang="0">
                    <a:pos x="2523" y="136"/>
                  </a:cxn>
                  <a:cxn ang="0">
                    <a:pos x="2665" y="12"/>
                  </a:cxn>
                  <a:cxn ang="0">
                    <a:pos x="2783" y="0"/>
                  </a:cxn>
                  <a:cxn ang="0">
                    <a:pos x="2787" y="275"/>
                  </a:cxn>
                  <a:cxn ang="0">
                    <a:pos x="2775" y="483"/>
                  </a:cxn>
                  <a:cxn ang="0">
                    <a:pos x="2704" y="658"/>
                  </a:cxn>
                  <a:cxn ang="0">
                    <a:pos x="2634" y="827"/>
                  </a:cxn>
                  <a:cxn ang="0">
                    <a:pos x="2503" y="795"/>
                  </a:cxn>
                  <a:cxn ang="0">
                    <a:pos x="2385" y="806"/>
                  </a:cxn>
                  <a:cxn ang="0">
                    <a:pos x="2278" y="771"/>
                  </a:cxn>
                  <a:cxn ang="0">
                    <a:pos x="2160" y="897"/>
                  </a:cxn>
                  <a:cxn ang="0">
                    <a:pos x="2022" y="972"/>
                  </a:cxn>
                  <a:cxn ang="0">
                    <a:pos x="1791" y="959"/>
                  </a:cxn>
                  <a:cxn ang="0">
                    <a:pos x="1633" y="833"/>
                  </a:cxn>
                  <a:cxn ang="0">
                    <a:pos x="1513" y="771"/>
                  </a:cxn>
                  <a:cxn ang="0">
                    <a:pos x="1275" y="857"/>
                  </a:cxn>
                  <a:cxn ang="0">
                    <a:pos x="1168" y="863"/>
                  </a:cxn>
                  <a:cxn ang="0">
                    <a:pos x="1074" y="804"/>
                  </a:cxn>
                  <a:cxn ang="0">
                    <a:pos x="810" y="623"/>
                  </a:cxn>
                  <a:cxn ang="0">
                    <a:pos x="637" y="734"/>
                  </a:cxn>
                  <a:cxn ang="0">
                    <a:pos x="590" y="841"/>
                  </a:cxn>
                  <a:cxn ang="0">
                    <a:pos x="447" y="863"/>
                  </a:cxn>
                  <a:cxn ang="0">
                    <a:pos x="402" y="968"/>
                  </a:cxn>
                  <a:cxn ang="0">
                    <a:pos x="267" y="1009"/>
                  </a:cxn>
                  <a:cxn ang="0">
                    <a:pos x="258" y="927"/>
                  </a:cxn>
                  <a:cxn ang="0">
                    <a:pos x="184" y="849"/>
                  </a:cxn>
                  <a:cxn ang="0">
                    <a:pos x="184" y="744"/>
                  </a:cxn>
                  <a:cxn ang="0">
                    <a:pos x="0" y="671"/>
                  </a:cxn>
                  <a:cxn ang="0">
                    <a:pos x="153" y="530"/>
                  </a:cxn>
                  <a:cxn ang="0">
                    <a:pos x="279" y="471"/>
                  </a:cxn>
                  <a:cxn ang="0">
                    <a:pos x="350" y="395"/>
                  </a:cxn>
                  <a:cxn ang="0">
                    <a:pos x="294" y="231"/>
                  </a:cxn>
                  <a:cxn ang="0">
                    <a:pos x="330" y="84"/>
                  </a:cxn>
                  <a:cxn ang="0">
                    <a:pos x="483" y="120"/>
                  </a:cxn>
                  <a:cxn ang="0">
                    <a:pos x="651" y="75"/>
                  </a:cxn>
                  <a:cxn ang="0">
                    <a:pos x="769" y="95"/>
                  </a:cxn>
                  <a:cxn ang="0">
                    <a:pos x="1011" y="323"/>
                  </a:cxn>
                  <a:cxn ang="0">
                    <a:pos x="1060" y="240"/>
                  </a:cxn>
                  <a:cxn ang="0">
                    <a:pos x="1155" y="216"/>
                  </a:cxn>
                </a:cxnLst>
                <a:rect l="0" t="0" r="r" b="b"/>
                <a:pathLst>
                  <a:path w="2787" h="1009">
                    <a:moveTo>
                      <a:pt x="1155" y="216"/>
                    </a:moveTo>
                    <a:lnTo>
                      <a:pt x="1212" y="267"/>
                    </a:lnTo>
                    <a:lnTo>
                      <a:pt x="1296" y="242"/>
                    </a:lnTo>
                    <a:lnTo>
                      <a:pt x="1369" y="326"/>
                    </a:lnTo>
                    <a:lnTo>
                      <a:pt x="1495" y="255"/>
                    </a:lnTo>
                    <a:lnTo>
                      <a:pt x="1602" y="148"/>
                    </a:lnTo>
                    <a:lnTo>
                      <a:pt x="1736" y="52"/>
                    </a:lnTo>
                    <a:lnTo>
                      <a:pt x="1771" y="160"/>
                    </a:lnTo>
                    <a:lnTo>
                      <a:pt x="1783" y="347"/>
                    </a:lnTo>
                    <a:lnTo>
                      <a:pt x="1810" y="495"/>
                    </a:lnTo>
                    <a:lnTo>
                      <a:pt x="1944" y="479"/>
                    </a:lnTo>
                    <a:lnTo>
                      <a:pt x="2055" y="339"/>
                    </a:lnTo>
                    <a:lnTo>
                      <a:pt x="2267" y="323"/>
                    </a:lnTo>
                    <a:lnTo>
                      <a:pt x="2417" y="251"/>
                    </a:lnTo>
                    <a:lnTo>
                      <a:pt x="2523" y="136"/>
                    </a:lnTo>
                    <a:lnTo>
                      <a:pt x="2665" y="12"/>
                    </a:lnTo>
                    <a:lnTo>
                      <a:pt x="2783" y="0"/>
                    </a:lnTo>
                    <a:lnTo>
                      <a:pt x="2787" y="275"/>
                    </a:lnTo>
                    <a:lnTo>
                      <a:pt x="2775" y="483"/>
                    </a:lnTo>
                    <a:lnTo>
                      <a:pt x="2704" y="658"/>
                    </a:lnTo>
                    <a:lnTo>
                      <a:pt x="2634" y="827"/>
                    </a:lnTo>
                    <a:lnTo>
                      <a:pt x="2503" y="795"/>
                    </a:lnTo>
                    <a:lnTo>
                      <a:pt x="2385" y="806"/>
                    </a:lnTo>
                    <a:lnTo>
                      <a:pt x="2278" y="771"/>
                    </a:lnTo>
                    <a:lnTo>
                      <a:pt x="2160" y="897"/>
                    </a:lnTo>
                    <a:lnTo>
                      <a:pt x="2022" y="972"/>
                    </a:lnTo>
                    <a:lnTo>
                      <a:pt x="1791" y="959"/>
                    </a:lnTo>
                    <a:lnTo>
                      <a:pt x="1633" y="833"/>
                    </a:lnTo>
                    <a:lnTo>
                      <a:pt x="1513" y="771"/>
                    </a:lnTo>
                    <a:lnTo>
                      <a:pt x="1275" y="857"/>
                    </a:lnTo>
                    <a:lnTo>
                      <a:pt x="1168" y="863"/>
                    </a:lnTo>
                    <a:lnTo>
                      <a:pt x="1074" y="804"/>
                    </a:lnTo>
                    <a:lnTo>
                      <a:pt x="810" y="623"/>
                    </a:lnTo>
                    <a:lnTo>
                      <a:pt x="637" y="734"/>
                    </a:lnTo>
                    <a:lnTo>
                      <a:pt x="590" y="841"/>
                    </a:lnTo>
                    <a:lnTo>
                      <a:pt x="447" y="863"/>
                    </a:lnTo>
                    <a:lnTo>
                      <a:pt x="402" y="968"/>
                    </a:lnTo>
                    <a:lnTo>
                      <a:pt x="267" y="1009"/>
                    </a:lnTo>
                    <a:lnTo>
                      <a:pt x="258" y="927"/>
                    </a:lnTo>
                    <a:lnTo>
                      <a:pt x="184" y="849"/>
                    </a:lnTo>
                    <a:lnTo>
                      <a:pt x="184" y="744"/>
                    </a:lnTo>
                    <a:lnTo>
                      <a:pt x="0" y="671"/>
                    </a:lnTo>
                    <a:lnTo>
                      <a:pt x="153" y="530"/>
                    </a:lnTo>
                    <a:lnTo>
                      <a:pt x="279" y="471"/>
                    </a:lnTo>
                    <a:lnTo>
                      <a:pt x="350" y="395"/>
                    </a:lnTo>
                    <a:lnTo>
                      <a:pt x="294" y="231"/>
                    </a:lnTo>
                    <a:lnTo>
                      <a:pt x="330" y="84"/>
                    </a:lnTo>
                    <a:lnTo>
                      <a:pt x="483" y="120"/>
                    </a:lnTo>
                    <a:lnTo>
                      <a:pt x="651" y="75"/>
                    </a:lnTo>
                    <a:lnTo>
                      <a:pt x="769" y="95"/>
                    </a:lnTo>
                    <a:lnTo>
                      <a:pt x="1011" y="323"/>
                    </a:lnTo>
                    <a:lnTo>
                      <a:pt x="1060" y="240"/>
                    </a:lnTo>
                    <a:lnTo>
                      <a:pt x="1155" y="21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5" name="Freeform 47">
                <a:extLst>
                  <a:ext uri="{FF2B5EF4-FFF2-40B4-BE49-F238E27FC236}">
                    <a16:creationId xmlns:a16="http://schemas.microsoft.com/office/drawing/2014/main" id="{D2FA1A02-C5A1-4B93-9FAC-D5C5BC0B54BB}"/>
                  </a:ext>
                </a:extLst>
              </p:cNvPr>
              <p:cNvSpPr>
                <a:spLocks/>
              </p:cNvSpPr>
              <p:nvPr/>
            </p:nvSpPr>
            <p:spPr bwMode="auto">
              <a:xfrm>
                <a:off x="3129" y="1741"/>
                <a:ext cx="311" cy="184"/>
              </a:xfrm>
              <a:custGeom>
                <a:avLst/>
                <a:gdLst/>
                <a:ahLst/>
                <a:cxnLst>
                  <a:cxn ang="0">
                    <a:pos x="116" y="184"/>
                  </a:cxn>
                  <a:cxn ang="0">
                    <a:pos x="319" y="229"/>
                  </a:cxn>
                  <a:cxn ang="0">
                    <a:pos x="599" y="64"/>
                  </a:cxn>
                  <a:cxn ang="0">
                    <a:pos x="753" y="1"/>
                  </a:cxn>
                  <a:cxn ang="0">
                    <a:pos x="824" y="0"/>
                  </a:cxn>
                  <a:cxn ang="0">
                    <a:pos x="858" y="124"/>
                  </a:cxn>
                  <a:cxn ang="0">
                    <a:pos x="645" y="332"/>
                  </a:cxn>
                  <a:cxn ang="0">
                    <a:pos x="850" y="392"/>
                  </a:cxn>
                  <a:cxn ang="0">
                    <a:pos x="998" y="388"/>
                  </a:cxn>
                  <a:cxn ang="0">
                    <a:pos x="1177" y="512"/>
                  </a:cxn>
                  <a:cxn ang="0">
                    <a:pos x="1239" y="388"/>
                  </a:cxn>
                  <a:cxn ang="0">
                    <a:pos x="1181" y="184"/>
                  </a:cxn>
                  <a:cxn ang="0">
                    <a:pos x="1271" y="120"/>
                  </a:cxn>
                  <a:cxn ang="0">
                    <a:pos x="1477" y="229"/>
                  </a:cxn>
                  <a:cxn ang="0">
                    <a:pos x="1717" y="237"/>
                  </a:cxn>
                  <a:cxn ang="0">
                    <a:pos x="2052" y="282"/>
                  </a:cxn>
                  <a:cxn ang="0">
                    <a:pos x="2046" y="468"/>
                  </a:cxn>
                  <a:cxn ang="0">
                    <a:pos x="2076" y="629"/>
                  </a:cxn>
                  <a:cxn ang="0">
                    <a:pos x="1927" y="644"/>
                  </a:cxn>
                  <a:cxn ang="0">
                    <a:pos x="1751" y="799"/>
                  </a:cxn>
                  <a:cxn ang="0">
                    <a:pos x="1624" y="937"/>
                  </a:cxn>
                  <a:cxn ang="0">
                    <a:pos x="1436" y="1030"/>
                  </a:cxn>
                  <a:cxn ang="0">
                    <a:pos x="1166" y="1053"/>
                  </a:cxn>
                  <a:cxn ang="0">
                    <a:pos x="1028" y="1229"/>
                  </a:cxn>
                  <a:cxn ang="0">
                    <a:pos x="858" y="1247"/>
                  </a:cxn>
                  <a:cxn ang="0">
                    <a:pos x="825" y="1064"/>
                  </a:cxn>
                  <a:cxn ang="0">
                    <a:pos x="810" y="829"/>
                  </a:cxn>
                  <a:cxn ang="0">
                    <a:pos x="767" y="694"/>
                  </a:cxn>
                  <a:cxn ang="0">
                    <a:pos x="588" y="824"/>
                  </a:cxn>
                  <a:cxn ang="0">
                    <a:pos x="465" y="950"/>
                  </a:cxn>
                  <a:cxn ang="0">
                    <a:pos x="306" y="1038"/>
                  </a:cxn>
                  <a:cxn ang="0">
                    <a:pos x="215" y="934"/>
                  </a:cxn>
                  <a:cxn ang="0">
                    <a:pos x="111" y="962"/>
                  </a:cxn>
                  <a:cxn ang="0">
                    <a:pos x="43" y="899"/>
                  </a:cxn>
                  <a:cxn ang="0">
                    <a:pos x="58" y="689"/>
                  </a:cxn>
                  <a:cxn ang="0">
                    <a:pos x="0" y="470"/>
                  </a:cxn>
                  <a:cxn ang="0">
                    <a:pos x="83" y="388"/>
                  </a:cxn>
                  <a:cxn ang="0">
                    <a:pos x="116" y="184"/>
                  </a:cxn>
                </a:cxnLst>
                <a:rect l="0" t="0" r="r" b="b"/>
                <a:pathLst>
                  <a:path w="2076" h="1247">
                    <a:moveTo>
                      <a:pt x="116" y="184"/>
                    </a:moveTo>
                    <a:lnTo>
                      <a:pt x="319" y="229"/>
                    </a:lnTo>
                    <a:lnTo>
                      <a:pt x="599" y="64"/>
                    </a:lnTo>
                    <a:lnTo>
                      <a:pt x="753" y="1"/>
                    </a:lnTo>
                    <a:lnTo>
                      <a:pt x="824" y="0"/>
                    </a:lnTo>
                    <a:lnTo>
                      <a:pt x="858" y="124"/>
                    </a:lnTo>
                    <a:lnTo>
                      <a:pt x="645" y="332"/>
                    </a:lnTo>
                    <a:lnTo>
                      <a:pt x="850" y="392"/>
                    </a:lnTo>
                    <a:lnTo>
                      <a:pt x="998" y="388"/>
                    </a:lnTo>
                    <a:lnTo>
                      <a:pt x="1177" y="512"/>
                    </a:lnTo>
                    <a:lnTo>
                      <a:pt x="1239" y="388"/>
                    </a:lnTo>
                    <a:lnTo>
                      <a:pt x="1181" y="184"/>
                    </a:lnTo>
                    <a:lnTo>
                      <a:pt x="1271" y="120"/>
                    </a:lnTo>
                    <a:lnTo>
                      <a:pt x="1477" y="229"/>
                    </a:lnTo>
                    <a:lnTo>
                      <a:pt x="1717" y="237"/>
                    </a:lnTo>
                    <a:lnTo>
                      <a:pt x="2052" y="282"/>
                    </a:lnTo>
                    <a:lnTo>
                      <a:pt x="2046" y="468"/>
                    </a:lnTo>
                    <a:lnTo>
                      <a:pt x="2076" y="629"/>
                    </a:lnTo>
                    <a:lnTo>
                      <a:pt x="1927" y="644"/>
                    </a:lnTo>
                    <a:lnTo>
                      <a:pt x="1751" y="799"/>
                    </a:lnTo>
                    <a:lnTo>
                      <a:pt x="1624" y="937"/>
                    </a:lnTo>
                    <a:lnTo>
                      <a:pt x="1436" y="1030"/>
                    </a:lnTo>
                    <a:lnTo>
                      <a:pt x="1166" y="1053"/>
                    </a:lnTo>
                    <a:lnTo>
                      <a:pt x="1028" y="1229"/>
                    </a:lnTo>
                    <a:lnTo>
                      <a:pt x="858" y="1247"/>
                    </a:lnTo>
                    <a:lnTo>
                      <a:pt x="825" y="1064"/>
                    </a:lnTo>
                    <a:lnTo>
                      <a:pt x="810" y="829"/>
                    </a:lnTo>
                    <a:lnTo>
                      <a:pt x="767" y="694"/>
                    </a:lnTo>
                    <a:lnTo>
                      <a:pt x="588" y="824"/>
                    </a:lnTo>
                    <a:lnTo>
                      <a:pt x="465" y="950"/>
                    </a:lnTo>
                    <a:lnTo>
                      <a:pt x="306" y="1038"/>
                    </a:lnTo>
                    <a:lnTo>
                      <a:pt x="215" y="934"/>
                    </a:lnTo>
                    <a:lnTo>
                      <a:pt x="111" y="962"/>
                    </a:lnTo>
                    <a:lnTo>
                      <a:pt x="43" y="899"/>
                    </a:lnTo>
                    <a:lnTo>
                      <a:pt x="58" y="689"/>
                    </a:lnTo>
                    <a:lnTo>
                      <a:pt x="0" y="470"/>
                    </a:lnTo>
                    <a:lnTo>
                      <a:pt x="83" y="388"/>
                    </a:lnTo>
                    <a:lnTo>
                      <a:pt x="116" y="184"/>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6" name="Freeform 48">
                <a:extLst>
                  <a:ext uri="{FF2B5EF4-FFF2-40B4-BE49-F238E27FC236}">
                    <a16:creationId xmlns:a16="http://schemas.microsoft.com/office/drawing/2014/main" id="{9C5034DC-69DC-45B2-8400-30E5E96432E3}"/>
                  </a:ext>
                </a:extLst>
              </p:cNvPr>
              <p:cNvSpPr>
                <a:spLocks/>
              </p:cNvSpPr>
              <p:nvPr/>
            </p:nvSpPr>
            <p:spPr bwMode="auto">
              <a:xfrm>
                <a:off x="3147" y="1642"/>
                <a:ext cx="289" cy="175"/>
              </a:xfrm>
              <a:custGeom>
                <a:avLst/>
                <a:gdLst/>
                <a:ahLst/>
                <a:cxnLst>
                  <a:cxn ang="0">
                    <a:pos x="1742" y="233"/>
                  </a:cxn>
                  <a:cxn ang="0">
                    <a:pos x="1579" y="143"/>
                  </a:cxn>
                  <a:cxn ang="0">
                    <a:pos x="1329" y="173"/>
                  </a:cxn>
                  <a:cxn ang="0">
                    <a:pos x="1092" y="143"/>
                  </a:cxn>
                  <a:cxn ang="0">
                    <a:pos x="940" y="53"/>
                  </a:cxn>
                  <a:cxn ang="0">
                    <a:pos x="778" y="0"/>
                  </a:cxn>
                  <a:cxn ang="0">
                    <a:pos x="697" y="43"/>
                  </a:cxn>
                  <a:cxn ang="0">
                    <a:pos x="555" y="29"/>
                  </a:cxn>
                  <a:cxn ang="0">
                    <a:pos x="439" y="203"/>
                  </a:cxn>
                  <a:cxn ang="0">
                    <a:pos x="306" y="414"/>
                  </a:cxn>
                  <a:cxn ang="0">
                    <a:pos x="150" y="666"/>
                  </a:cxn>
                  <a:cxn ang="0">
                    <a:pos x="30" y="687"/>
                  </a:cxn>
                  <a:cxn ang="0">
                    <a:pos x="0" y="853"/>
                  </a:cxn>
                  <a:cxn ang="0">
                    <a:pos x="201" y="897"/>
                  </a:cxn>
                  <a:cxn ang="0">
                    <a:pos x="487" y="732"/>
                  </a:cxn>
                  <a:cxn ang="0">
                    <a:pos x="630" y="672"/>
                  </a:cxn>
                  <a:cxn ang="0">
                    <a:pos x="708" y="667"/>
                  </a:cxn>
                  <a:cxn ang="0">
                    <a:pos x="738" y="793"/>
                  </a:cxn>
                  <a:cxn ang="0">
                    <a:pos x="526" y="1002"/>
                  </a:cxn>
                  <a:cxn ang="0">
                    <a:pos x="738" y="1062"/>
                  </a:cxn>
                  <a:cxn ang="0">
                    <a:pos x="881" y="1057"/>
                  </a:cxn>
                  <a:cxn ang="0">
                    <a:pos x="1058" y="1182"/>
                  </a:cxn>
                  <a:cxn ang="0">
                    <a:pos x="1122" y="1057"/>
                  </a:cxn>
                  <a:cxn ang="0">
                    <a:pos x="1063" y="853"/>
                  </a:cxn>
                  <a:cxn ang="0">
                    <a:pos x="1152" y="788"/>
                  </a:cxn>
                  <a:cxn ang="0">
                    <a:pos x="1358" y="897"/>
                  </a:cxn>
                  <a:cxn ang="0">
                    <a:pos x="1609" y="907"/>
                  </a:cxn>
                  <a:cxn ang="0">
                    <a:pos x="1934" y="952"/>
                  </a:cxn>
                  <a:cxn ang="0">
                    <a:pos x="1919" y="823"/>
                  </a:cxn>
                  <a:cxn ang="0">
                    <a:pos x="1870" y="682"/>
                  </a:cxn>
                  <a:cxn ang="0">
                    <a:pos x="1815" y="442"/>
                  </a:cxn>
                  <a:cxn ang="0">
                    <a:pos x="1742" y="233"/>
                  </a:cxn>
                </a:cxnLst>
                <a:rect l="0" t="0" r="r" b="b"/>
                <a:pathLst>
                  <a:path w="1934" h="1182">
                    <a:moveTo>
                      <a:pt x="1742" y="233"/>
                    </a:moveTo>
                    <a:lnTo>
                      <a:pt x="1579" y="143"/>
                    </a:lnTo>
                    <a:lnTo>
                      <a:pt x="1329" y="173"/>
                    </a:lnTo>
                    <a:lnTo>
                      <a:pt x="1092" y="143"/>
                    </a:lnTo>
                    <a:lnTo>
                      <a:pt x="940" y="53"/>
                    </a:lnTo>
                    <a:lnTo>
                      <a:pt x="778" y="0"/>
                    </a:lnTo>
                    <a:lnTo>
                      <a:pt x="697" y="43"/>
                    </a:lnTo>
                    <a:lnTo>
                      <a:pt x="555" y="29"/>
                    </a:lnTo>
                    <a:lnTo>
                      <a:pt x="439" y="203"/>
                    </a:lnTo>
                    <a:lnTo>
                      <a:pt x="306" y="414"/>
                    </a:lnTo>
                    <a:lnTo>
                      <a:pt x="150" y="666"/>
                    </a:lnTo>
                    <a:lnTo>
                      <a:pt x="30" y="687"/>
                    </a:lnTo>
                    <a:lnTo>
                      <a:pt x="0" y="853"/>
                    </a:lnTo>
                    <a:lnTo>
                      <a:pt x="201" y="897"/>
                    </a:lnTo>
                    <a:lnTo>
                      <a:pt x="487" y="732"/>
                    </a:lnTo>
                    <a:lnTo>
                      <a:pt x="630" y="672"/>
                    </a:lnTo>
                    <a:lnTo>
                      <a:pt x="708" y="667"/>
                    </a:lnTo>
                    <a:lnTo>
                      <a:pt x="738" y="793"/>
                    </a:lnTo>
                    <a:lnTo>
                      <a:pt x="526" y="1002"/>
                    </a:lnTo>
                    <a:lnTo>
                      <a:pt x="738" y="1062"/>
                    </a:lnTo>
                    <a:lnTo>
                      <a:pt x="881" y="1057"/>
                    </a:lnTo>
                    <a:lnTo>
                      <a:pt x="1058" y="1182"/>
                    </a:lnTo>
                    <a:lnTo>
                      <a:pt x="1122" y="1057"/>
                    </a:lnTo>
                    <a:lnTo>
                      <a:pt x="1063" y="853"/>
                    </a:lnTo>
                    <a:lnTo>
                      <a:pt x="1152" y="788"/>
                    </a:lnTo>
                    <a:lnTo>
                      <a:pt x="1358" y="897"/>
                    </a:lnTo>
                    <a:lnTo>
                      <a:pt x="1609" y="907"/>
                    </a:lnTo>
                    <a:lnTo>
                      <a:pt x="1934" y="952"/>
                    </a:lnTo>
                    <a:lnTo>
                      <a:pt x="1919" y="823"/>
                    </a:lnTo>
                    <a:lnTo>
                      <a:pt x="1870" y="682"/>
                    </a:lnTo>
                    <a:lnTo>
                      <a:pt x="1815" y="442"/>
                    </a:lnTo>
                    <a:lnTo>
                      <a:pt x="1742" y="233"/>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7" name="Freeform 49">
                <a:extLst>
                  <a:ext uri="{FF2B5EF4-FFF2-40B4-BE49-F238E27FC236}">
                    <a16:creationId xmlns:a16="http://schemas.microsoft.com/office/drawing/2014/main" id="{E6FB2DA9-5765-445A-8603-9FDE228CA707}"/>
                  </a:ext>
                </a:extLst>
              </p:cNvPr>
              <p:cNvSpPr>
                <a:spLocks/>
              </p:cNvSpPr>
              <p:nvPr/>
            </p:nvSpPr>
            <p:spPr bwMode="auto">
              <a:xfrm>
                <a:off x="1017" y="802"/>
                <a:ext cx="486" cy="543"/>
              </a:xfrm>
              <a:custGeom>
                <a:avLst/>
                <a:gdLst/>
                <a:ahLst/>
                <a:cxnLst>
                  <a:cxn ang="0">
                    <a:pos x="2316" y="170"/>
                  </a:cxn>
                  <a:cxn ang="0">
                    <a:pos x="2108" y="409"/>
                  </a:cxn>
                  <a:cxn ang="0">
                    <a:pos x="1784" y="524"/>
                  </a:cxn>
                  <a:cxn ang="0">
                    <a:pos x="1286" y="644"/>
                  </a:cxn>
                  <a:cxn ang="0">
                    <a:pos x="1123" y="853"/>
                  </a:cxn>
                  <a:cxn ang="0">
                    <a:pos x="739" y="679"/>
                  </a:cxn>
                  <a:cxn ang="0">
                    <a:pos x="369" y="584"/>
                  </a:cxn>
                  <a:cxn ang="0">
                    <a:pos x="5" y="499"/>
                  </a:cxn>
                  <a:cxn ang="0">
                    <a:pos x="104" y="763"/>
                  </a:cxn>
                  <a:cxn ang="0">
                    <a:pos x="325" y="978"/>
                  </a:cxn>
                  <a:cxn ang="0">
                    <a:pos x="409" y="1332"/>
                  </a:cxn>
                  <a:cxn ang="0">
                    <a:pos x="542" y="1592"/>
                  </a:cxn>
                  <a:cxn ang="0">
                    <a:pos x="779" y="1700"/>
                  </a:cxn>
                  <a:cxn ang="0">
                    <a:pos x="1123" y="1861"/>
                  </a:cxn>
                  <a:cxn ang="0">
                    <a:pos x="1222" y="2219"/>
                  </a:cxn>
                  <a:cxn ang="0">
                    <a:pos x="1227" y="2948"/>
                  </a:cxn>
                  <a:cxn ang="0">
                    <a:pos x="1360" y="3247"/>
                  </a:cxn>
                  <a:cxn ang="0">
                    <a:pos x="1493" y="3506"/>
                  </a:cxn>
                  <a:cxn ang="0">
                    <a:pos x="1739" y="3681"/>
                  </a:cxn>
                  <a:cxn ang="0">
                    <a:pos x="1922" y="3187"/>
                  </a:cxn>
                  <a:cxn ang="0">
                    <a:pos x="2261" y="3357"/>
                  </a:cxn>
                  <a:cxn ang="0">
                    <a:pos x="2448" y="3247"/>
                  </a:cxn>
                  <a:cxn ang="0">
                    <a:pos x="2542" y="2893"/>
                  </a:cxn>
                  <a:cxn ang="0">
                    <a:pos x="2956" y="2788"/>
                  </a:cxn>
                  <a:cxn ang="0">
                    <a:pos x="3176" y="2333"/>
                  </a:cxn>
                  <a:cxn ang="0">
                    <a:pos x="3069" y="2139"/>
                  </a:cxn>
                  <a:cxn ang="0">
                    <a:pos x="2779" y="1665"/>
                  </a:cxn>
                  <a:cxn ang="0">
                    <a:pos x="2631" y="1382"/>
                  </a:cxn>
                  <a:cxn ang="0">
                    <a:pos x="2892" y="748"/>
                  </a:cxn>
                  <a:cxn ang="0">
                    <a:pos x="2809" y="494"/>
                  </a:cxn>
                  <a:cxn ang="0">
                    <a:pos x="2641" y="155"/>
                  </a:cxn>
                  <a:cxn ang="0">
                    <a:pos x="2405" y="35"/>
                  </a:cxn>
                </a:cxnLst>
                <a:rect l="0" t="0" r="r" b="b"/>
                <a:pathLst>
                  <a:path w="3244" h="3681">
                    <a:moveTo>
                      <a:pt x="2227" y="35"/>
                    </a:moveTo>
                    <a:lnTo>
                      <a:pt x="2316" y="170"/>
                    </a:lnTo>
                    <a:lnTo>
                      <a:pt x="2168" y="284"/>
                    </a:lnTo>
                    <a:lnTo>
                      <a:pt x="2108" y="409"/>
                    </a:lnTo>
                    <a:lnTo>
                      <a:pt x="1902" y="404"/>
                    </a:lnTo>
                    <a:lnTo>
                      <a:pt x="1784" y="524"/>
                    </a:lnTo>
                    <a:lnTo>
                      <a:pt x="1546" y="614"/>
                    </a:lnTo>
                    <a:lnTo>
                      <a:pt x="1286" y="644"/>
                    </a:lnTo>
                    <a:lnTo>
                      <a:pt x="1093" y="703"/>
                    </a:lnTo>
                    <a:lnTo>
                      <a:pt x="1123" y="853"/>
                    </a:lnTo>
                    <a:lnTo>
                      <a:pt x="1020" y="918"/>
                    </a:lnTo>
                    <a:lnTo>
                      <a:pt x="739" y="679"/>
                    </a:lnTo>
                    <a:lnTo>
                      <a:pt x="473" y="733"/>
                    </a:lnTo>
                    <a:lnTo>
                      <a:pt x="369" y="584"/>
                    </a:lnTo>
                    <a:lnTo>
                      <a:pt x="143" y="614"/>
                    </a:lnTo>
                    <a:lnTo>
                      <a:pt x="5" y="499"/>
                    </a:lnTo>
                    <a:lnTo>
                      <a:pt x="0" y="614"/>
                    </a:lnTo>
                    <a:lnTo>
                      <a:pt x="104" y="763"/>
                    </a:lnTo>
                    <a:lnTo>
                      <a:pt x="266" y="808"/>
                    </a:lnTo>
                    <a:lnTo>
                      <a:pt x="325" y="978"/>
                    </a:lnTo>
                    <a:lnTo>
                      <a:pt x="290" y="1157"/>
                    </a:lnTo>
                    <a:lnTo>
                      <a:pt x="409" y="1332"/>
                    </a:lnTo>
                    <a:lnTo>
                      <a:pt x="424" y="1517"/>
                    </a:lnTo>
                    <a:lnTo>
                      <a:pt x="542" y="1592"/>
                    </a:lnTo>
                    <a:lnTo>
                      <a:pt x="768" y="1562"/>
                    </a:lnTo>
                    <a:lnTo>
                      <a:pt x="779" y="1700"/>
                    </a:lnTo>
                    <a:lnTo>
                      <a:pt x="916" y="1780"/>
                    </a:lnTo>
                    <a:lnTo>
                      <a:pt x="1123" y="1861"/>
                    </a:lnTo>
                    <a:lnTo>
                      <a:pt x="1103" y="2021"/>
                    </a:lnTo>
                    <a:lnTo>
                      <a:pt x="1222" y="2219"/>
                    </a:lnTo>
                    <a:lnTo>
                      <a:pt x="1271" y="2424"/>
                    </a:lnTo>
                    <a:lnTo>
                      <a:pt x="1227" y="2948"/>
                    </a:lnTo>
                    <a:lnTo>
                      <a:pt x="1345" y="3117"/>
                    </a:lnTo>
                    <a:lnTo>
                      <a:pt x="1360" y="3247"/>
                    </a:lnTo>
                    <a:lnTo>
                      <a:pt x="1271" y="3372"/>
                    </a:lnTo>
                    <a:lnTo>
                      <a:pt x="1493" y="3506"/>
                    </a:lnTo>
                    <a:lnTo>
                      <a:pt x="1591" y="3671"/>
                    </a:lnTo>
                    <a:lnTo>
                      <a:pt x="1739" y="3681"/>
                    </a:lnTo>
                    <a:lnTo>
                      <a:pt x="1769" y="3367"/>
                    </a:lnTo>
                    <a:lnTo>
                      <a:pt x="1922" y="3187"/>
                    </a:lnTo>
                    <a:lnTo>
                      <a:pt x="2079" y="3192"/>
                    </a:lnTo>
                    <a:lnTo>
                      <a:pt x="2261" y="3357"/>
                    </a:lnTo>
                    <a:lnTo>
                      <a:pt x="2380" y="3367"/>
                    </a:lnTo>
                    <a:lnTo>
                      <a:pt x="2448" y="3247"/>
                    </a:lnTo>
                    <a:lnTo>
                      <a:pt x="2463" y="3072"/>
                    </a:lnTo>
                    <a:lnTo>
                      <a:pt x="2542" y="2893"/>
                    </a:lnTo>
                    <a:lnTo>
                      <a:pt x="2685" y="2773"/>
                    </a:lnTo>
                    <a:lnTo>
                      <a:pt x="2956" y="2788"/>
                    </a:lnTo>
                    <a:lnTo>
                      <a:pt x="3244" y="2766"/>
                    </a:lnTo>
                    <a:lnTo>
                      <a:pt x="3176" y="2333"/>
                    </a:lnTo>
                    <a:lnTo>
                      <a:pt x="3216" y="2217"/>
                    </a:lnTo>
                    <a:lnTo>
                      <a:pt x="3069" y="2139"/>
                    </a:lnTo>
                    <a:lnTo>
                      <a:pt x="2809" y="1906"/>
                    </a:lnTo>
                    <a:lnTo>
                      <a:pt x="2779" y="1665"/>
                    </a:lnTo>
                    <a:lnTo>
                      <a:pt x="2685" y="1557"/>
                    </a:lnTo>
                    <a:lnTo>
                      <a:pt x="2631" y="1382"/>
                    </a:lnTo>
                    <a:lnTo>
                      <a:pt x="2700" y="1003"/>
                    </a:lnTo>
                    <a:lnTo>
                      <a:pt x="2892" y="748"/>
                    </a:lnTo>
                    <a:lnTo>
                      <a:pt x="2804" y="614"/>
                    </a:lnTo>
                    <a:lnTo>
                      <a:pt x="2809" y="494"/>
                    </a:lnTo>
                    <a:lnTo>
                      <a:pt x="2567" y="409"/>
                    </a:lnTo>
                    <a:lnTo>
                      <a:pt x="2641" y="155"/>
                    </a:lnTo>
                    <a:lnTo>
                      <a:pt x="2552" y="0"/>
                    </a:lnTo>
                    <a:lnTo>
                      <a:pt x="2405" y="35"/>
                    </a:lnTo>
                    <a:lnTo>
                      <a:pt x="2227" y="35"/>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grpSp>
        <p:grpSp>
          <p:nvGrpSpPr>
            <p:cNvPr id="10" name="组合 53">
              <a:extLst>
                <a:ext uri="{FF2B5EF4-FFF2-40B4-BE49-F238E27FC236}">
                  <a16:creationId xmlns:a16="http://schemas.microsoft.com/office/drawing/2014/main" id="{B3B4B951-CF32-45EC-B7C4-F04E0C5EFC51}"/>
                </a:ext>
              </a:extLst>
            </p:cNvPr>
            <p:cNvGrpSpPr/>
            <p:nvPr/>
          </p:nvGrpSpPr>
          <p:grpSpPr>
            <a:xfrm>
              <a:off x="503937" y="3571876"/>
              <a:ext cx="2462945" cy="1479927"/>
              <a:chOff x="63233" y="4774171"/>
              <a:chExt cx="2462945" cy="1479927"/>
            </a:xfrm>
          </p:grpSpPr>
          <p:sp>
            <p:nvSpPr>
              <p:cNvPr id="35" name="圆角矩形 97">
                <a:extLst>
                  <a:ext uri="{FF2B5EF4-FFF2-40B4-BE49-F238E27FC236}">
                    <a16:creationId xmlns:a16="http://schemas.microsoft.com/office/drawing/2014/main" id="{49EF1932-E833-46A6-B04A-9B14268A8182}"/>
                  </a:ext>
                </a:extLst>
              </p:cNvPr>
              <p:cNvSpPr/>
              <p:nvPr/>
            </p:nvSpPr>
            <p:spPr>
              <a:xfrm>
                <a:off x="63233" y="4964087"/>
                <a:ext cx="2462945" cy="129001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36" name="圆角矩形 45">
                <a:extLst>
                  <a:ext uri="{FF2B5EF4-FFF2-40B4-BE49-F238E27FC236}">
                    <a16:creationId xmlns:a16="http://schemas.microsoft.com/office/drawing/2014/main" id="{94A304B8-0F50-41DA-8A0B-62332F47D0E0}"/>
                  </a:ext>
                </a:extLst>
              </p:cNvPr>
              <p:cNvSpPr/>
              <p:nvPr/>
            </p:nvSpPr>
            <p:spPr>
              <a:xfrm>
                <a:off x="680339" y="4774171"/>
                <a:ext cx="1582020" cy="422783"/>
              </a:xfrm>
              <a:prstGeom prst="roundRect">
                <a:avLst>
                  <a:gd name="adj" fmla="val 50000"/>
                </a:avLst>
              </a:prstGeom>
              <a:solidFill>
                <a:schemeClr val="bg1">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45703" rIns="0" bIns="45703" anchor="ctr" anchorCtr="1"/>
              <a:lstStyle/>
              <a:p>
                <a:pPr algn="r" fontAlgn="base">
                  <a:spcBef>
                    <a:spcPct val="0"/>
                  </a:spcBef>
                  <a:spcAft>
                    <a:spcPct val="0"/>
                  </a:spcAft>
                </a:pPr>
                <a:r>
                  <a:rPr lang="en-US" altLang="zh-CN" sz="1200" b="1" kern="0" dirty="0"/>
                  <a:t>Londrina</a:t>
                </a:r>
              </a:p>
            </p:txBody>
          </p:sp>
        </p:grpSp>
        <p:grpSp>
          <p:nvGrpSpPr>
            <p:cNvPr id="15" name="组合 56">
              <a:extLst>
                <a:ext uri="{FF2B5EF4-FFF2-40B4-BE49-F238E27FC236}">
                  <a16:creationId xmlns:a16="http://schemas.microsoft.com/office/drawing/2014/main" id="{ACC726F9-74E6-4727-AF6E-0A67514F58C4}"/>
                </a:ext>
              </a:extLst>
            </p:cNvPr>
            <p:cNvGrpSpPr/>
            <p:nvPr/>
          </p:nvGrpSpPr>
          <p:grpSpPr>
            <a:xfrm>
              <a:off x="4387907" y="6276460"/>
              <a:ext cx="2248314" cy="1479925"/>
              <a:chOff x="3447137" y="5907119"/>
              <a:chExt cx="2248314" cy="1479925"/>
            </a:xfrm>
          </p:grpSpPr>
          <p:sp>
            <p:nvSpPr>
              <p:cNvPr id="26" name="圆角矩形 67">
                <a:extLst>
                  <a:ext uri="{FF2B5EF4-FFF2-40B4-BE49-F238E27FC236}">
                    <a16:creationId xmlns:a16="http://schemas.microsoft.com/office/drawing/2014/main" id="{0867EBA0-4C0D-4C3D-BC8E-BA0119171CD5}"/>
                  </a:ext>
                </a:extLst>
              </p:cNvPr>
              <p:cNvSpPr/>
              <p:nvPr/>
            </p:nvSpPr>
            <p:spPr>
              <a:xfrm>
                <a:off x="3447137" y="6097034"/>
                <a:ext cx="2248314" cy="129001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27" name="圆角矩形 45">
                <a:extLst>
                  <a:ext uri="{FF2B5EF4-FFF2-40B4-BE49-F238E27FC236}">
                    <a16:creationId xmlns:a16="http://schemas.microsoft.com/office/drawing/2014/main" id="{37DAE50C-677B-4671-8CC6-9F95A54A5B1A}"/>
                  </a:ext>
                </a:extLst>
              </p:cNvPr>
              <p:cNvSpPr/>
              <p:nvPr/>
            </p:nvSpPr>
            <p:spPr>
              <a:xfrm>
                <a:off x="3750957" y="5907119"/>
                <a:ext cx="1779332" cy="422783"/>
              </a:xfrm>
              <a:prstGeom prst="roundRect">
                <a:avLst>
                  <a:gd name="adj" fmla="val 50000"/>
                </a:avLst>
              </a:prstGeom>
              <a:solidFill>
                <a:schemeClr val="bg1">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45703" rIns="0" bIns="45703" anchor="ctr" anchorCtr="1"/>
              <a:lstStyle/>
              <a:p>
                <a:pPr algn="r" fontAlgn="base">
                  <a:spcBef>
                    <a:spcPct val="0"/>
                  </a:spcBef>
                  <a:spcAft>
                    <a:spcPct val="0"/>
                  </a:spcAft>
                </a:pPr>
                <a:r>
                  <a:rPr lang="en-US" altLang="zh-CN" sz="1200" b="1" kern="0" dirty="0" err="1"/>
                  <a:t>Cachoeirinha</a:t>
                </a:r>
                <a:endParaRPr lang="en-US" altLang="zh-CN" sz="1200" b="1" kern="0" dirty="0"/>
              </a:p>
            </p:txBody>
          </p:sp>
        </p:grpSp>
        <p:sp>
          <p:nvSpPr>
            <p:cNvPr id="18" name="Oval 25">
              <a:extLst>
                <a:ext uri="{FF2B5EF4-FFF2-40B4-BE49-F238E27FC236}">
                  <a16:creationId xmlns:a16="http://schemas.microsoft.com/office/drawing/2014/main" id="{36790634-7F19-4D5A-94DC-1B0CA864B99A}"/>
                </a:ext>
              </a:extLst>
            </p:cNvPr>
            <p:cNvSpPr>
              <a:spLocks noChangeArrowheads="1"/>
            </p:cNvSpPr>
            <p:nvPr/>
          </p:nvSpPr>
          <p:spPr bwMode="gray">
            <a:xfrm>
              <a:off x="4387906" y="5166937"/>
              <a:ext cx="108820" cy="108820"/>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sp>
          <p:nvSpPr>
            <p:cNvPr id="22" name="Oval 25">
              <a:extLst>
                <a:ext uri="{FF2B5EF4-FFF2-40B4-BE49-F238E27FC236}">
                  <a16:creationId xmlns:a16="http://schemas.microsoft.com/office/drawing/2014/main" id="{F7484D4C-BE28-4837-AC1C-20CC46D8C72F}"/>
                </a:ext>
              </a:extLst>
            </p:cNvPr>
            <p:cNvSpPr>
              <a:spLocks noChangeArrowheads="1"/>
            </p:cNvSpPr>
            <p:nvPr/>
          </p:nvSpPr>
          <p:spPr bwMode="gray">
            <a:xfrm>
              <a:off x="4107002" y="5724518"/>
              <a:ext cx="108821" cy="10882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23" name="肘形连接符 139">
              <a:extLst>
                <a:ext uri="{FF2B5EF4-FFF2-40B4-BE49-F238E27FC236}">
                  <a16:creationId xmlns:a16="http://schemas.microsoft.com/office/drawing/2014/main" id="{55A320D9-A20C-438B-A100-E8CDF5489B35}"/>
                </a:ext>
              </a:extLst>
            </p:cNvPr>
            <p:cNvCxnSpPr>
              <a:cxnSpLocks/>
              <a:stCxn id="26" idx="3"/>
              <a:endCxn id="22" idx="4"/>
            </p:cNvCxnSpPr>
            <p:nvPr/>
          </p:nvCxnSpPr>
          <p:spPr>
            <a:xfrm flipH="1" flipV="1">
              <a:off x="4161413" y="5833338"/>
              <a:ext cx="2474807" cy="1278042"/>
            </a:xfrm>
            <a:prstGeom prst="bentConnector4">
              <a:avLst>
                <a:gd name="adj1" fmla="val -12806"/>
                <a:gd name="adj2" fmla="val 75234"/>
              </a:avLst>
            </a:prstGeom>
            <a:noFill/>
            <a:ln w="9525">
              <a:solidFill>
                <a:srgbClr val="C00000"/>
              </a:solidFill>
              <a:prstDash val="sysDash"/>
              <a:miter lim="800000"/>
              <a:headEnd/>
              <a:tailEnd/>
            </a:ln>
          </p:spPr>
        </p:cxnSp>
      </p:grpSp>
      <p:cxnSp>
        <p:nvCxnSpPr>
          <p:cNvPr id="68" name="肘形连接符 139">
            <a:extLst>
              <a:ext uri="{FF2B5EF4-FFF2-40B4-BE49-F238E27FC236}">
                <a16:creationId xmlns:a16="http://schemas.microsoft.com/office/drawing/2014/main" id="{897DF502-2E18-44FC-AE0E-8F0314F796D3}"/>
              </a:ext>
            </a:extLst>
          </p:cNvPr>
          <p:cNvCxnSpPr>
            <a:cxnSpLocks/>
            <a:stCxn id="18" idx="2"/>
          </p:cNvCxnSpPr>
          <p:nvPr/>
        </p:nvCxnSpPr>
        <p:spPr>
          <a:xfrm rot="10800000">
            <a:off x="8479237" y="2683032"/>
            <a:ext cx="1036197" cy="760864"/>
          </a:xfrm>
          <a:prstGeom prst="bentConnector3">
            <a:avLst>
              <a:gd name="adj1" fmla="val 50000"/>
            </a:avLst>
          </a:prstGeom>
          <a:noFill/>
          <a:ln w="9525">
            <a:solidFill>
              <a:srgbClr val="C00000"/>
            </a:solidFill>
            <a:prstDash val="sysDash"/>
            <a:miter lim="800000"/>
            <a:headEnd/>
            <a:tailEnd/>
          </a:ln>
        </p:spPr>
      </p:cxnSp>
      <p:sp>
        <p:nvSpPr>
          <p:cNvPr id="72" name="Text Box 16">
            <a:extLst>
              <a:ext uri="{FF2B5EF4-FFF2-40B4-BE49-F238E27FC236}">
                <a16:creationId xmlns:a16="http://schemas.microsoft.com/office/drawing/2014/main" id="{1EB27187-13E2-4281-8A84-A28876AD4E8E}"/>
              </a:ext>
            </a:extLst>
          </p:cNvPr>
          <p:cNvSpPr txBox="1">
            <a:spLocks noChangeArrowheads="1"/>
          </p:cNvSpPr>
          <p:nvPr/>
        </p:nvSpPr>
        <p:spPr bwMode="auto">
          <a:xfrm>
            <a:off x="6673723" y="2584529"/>
            <a:ext cx="1798644" cy="501419"/>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err="1">
                <a:latin typeface="Calibri" pitchFamily="34" charset="0"/>
                <a:cs typeface="Calibri" pitchFamily="34" charset="0"/>
              </a:rPr>
              <a:t>Distribuição</a:t>
            </a:r>
            <a:r>
              <a:rPr lang="en-US" altLang="zh-CN" sz="1200" dirty="0">
                <a:latin typeface="Calibri" pitchFamily="34" charset="0"/>
                <a:cs typeface="Calibri" pitchFamily="34" charset="0"/>
              </a:rPr>
              <a:t> no </a:t>
            </a:r>
            <a:r>
              <a:rPr lang="en-US" altLang="zh-CN" sz="1200" dirty="0" err="1">
                <a:latin typeface="Calibri" pitchFamily="34" charset="0"/>
                <a:cs typeface="Calibri" pitchFamily="34" charset="0"/>
              </a:rPr>
              <a:t>estado</a:t>
            </a:r>
            <a:r>
              <a:rPr lang="en-US" altLang="zh-CN" sz="1200" dirty="0">
                <a:latin typeface="Calibri" pitchFamily="34" charset="0"/>
                <a:cs typeface="Calibri" pitchFamily="34" charset="0"/>
              </a:rPr>
              <a:t> do Parana</a:t>
            </a:r>
          </a:p>
        </p:txBody>
      </p:sp>
      <p:sp>
        <p:nvSpPr>
          <p:cNvPr id="73" name="Text Box 16">
            <a:extLst>
              <a:ext uri="{FF2B5EF4-FFF2-40B4-BE49-F238E27FC236}">
                <a16:creationId xmlns:a16="http://schemas.microsoft.com/office/drawing/2014/main" id="{26385042-1726-4F56-96AF-C4B3915AAB8C}"/>
              </a:ext>
            </a:extLst>
          </p:cNvPr>
          <p:cNvSpPr txBox="1">
            <a:spLocks noChangeArrowheads="1"/>
          </p:cNvSpPr>
          <p:nvPr/>
        </p:nvSpPr>
        <p:spPr bwMode="auto">
          <a:xfrm>
            <a:off x="9461368" y="4580517"/>
            <a:ext cx="1798644" cy="501419"/>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err="1">
                <a:latin typeface="Calibri" pitchFamily="34" charset="0"/>
                <a:cs typeface="Calibri" pitchFamily="34" charset="0"/>
              </a:rPr>
              <a:t>Distribuição</a:t>
            </a:r>
            <a:r>
              <a:rPr lang="en-US" altLang="zh-CN" sz="1200" dirty="0">
                <a:latin typeface="Calibri" pitchFamily="34" charset="0"/>
                <a:cs typeface="Calibri" pitchFamily="34" charset="0"/>
              </a:rPr>
              <a:t> no </a:t>
            </a:r>
            <a:r>
              <a:rPr lang="en-US" altLang="zh-CN" sz="1200" dirty="0" err="1">
                <a:latin typeface="Calibri" pitchFamily="34" charset="0"/>
                <a:cs typeface="Calibri" pitchFamily="34" charset="0"/>
              </a:rPr>
              <a:t>estado</a:t>
            </a:r>
            <a:r>
              <a:rPr lang="en-US" altLang="zh-CN" sz="1200" dirty="0">
                <a:latin typeface="Calibri" pitchFamily="34" charset="0"/>
                <a:cs typeface="Calibri" pitchFamily="34" charset="0"/>
              </a:rPr>
              <a:t> do Rio Grande do Sul</a:t>
            </a:r>
          </a:p>
        </p:txBody>
      </p:sp>
      <p:pic>
        <p:nvPicPr>
          <p:cNvPr id="12" name="Gráfico 11" descr="Caminhão">
            <a:extLst>
              <a:ext uri="{FF2B5EF4-FFF2-40B4-BE49-F238E27FC236}">
                <a16:creationId xmlns:a16="http://schemas.microsoft.com/office/drawing/2014/main" id="{0D95549F-88E4-454D-ABDF-7F1BA5FA11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99482" y="4412601"/>
            <a:ext cx="914400" cy="914400"/>
          </a:xfrm>
          <a:prstGeom prst="rect">
            <a:avLst/>
          </a:prstGeom>
        </p:spPr>
      </p:pic>
      <p:pic>
        <p:nvPicPr>
          <p:cNvPr id="20" name="Gráfico 19" descr="Usuário">
            <a:extLst>
              <a:ext uri="{FF2B5EF4-FFF2-40B4-BE49-F238E27FC236}">
                <a16:creationId xmlns:a16="http://schemas.microsoft.com/office/drawing/2014/main" id="{AAEA2F4E-3CB9-4EF4-892C-4DDC9EACA75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01472" y="4385937"/>
            <a:ext cx="914400" cy="914400"/>
          </a:xfrm>
          <a:prstGeom prst="rect">
            <a:avLst/>
          </a:prstGeom>
        </p:spPr>
      </p:pic>
      <p:pic>
        <p:nvPicPr>
          <p:cNvPr id="24" name="Gráfico 23" descr="Loja">
            <a:extLst>
              <a:ext uri="{FF2B5EF4-FFF2-40B4-BE49-F238E27FC236}">
                <a16:creationId xmlns:a16="http://schemas.microsoft.com/office/drawing/2014/main" id="{763634AA-0D09-4A1D-AE4F-34535824E08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08855" y="4393579"/>
            <a:ext cx="914400" cy="914400"/>
          </a:xfrm>
          <a:prstGeom prst="rect">
            <a:avLst/>
          </a:prstGeom>
        </p:spPr>
      </p:pic>
      <p:pic>
        <p:nvPicPr>
          <p:cNvPr id="28" name="Gráfico 27" descr="Início">
            <a:extLst>
              <a:ext uri="{FF2B5EF4-FFF2-40B4-BE49-F238E27FC236}">
                <a16:creationId xmlns:a16="http://schemas.microsoft.com/office/drawing/2014/main" id="{BA86045E-DF06-455D-82A1-D3C27AAEDCD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6829" y="4309504"/>
            <a:ext cx="1636272" cy="914400"/>
          </a:xfrm>
          <a:prstGeom prst="rect">
            <a:avLst/>
          </a:prstGeom>
        </p:spPr>
      </p:pic>
      <p:sp>
        <p:nvSpPr>
          <p:cNvPr id="29" name="Seta: para a Direita 28">
            <a:extLst>
              <a:ext uri="{FF2B5EF4-FFF2-40B4-BE49-F238E27FC236}">
                <a16:creationId xmlns:a16="http://schemas.microsoft.com/office/drawing/2014/main" id="{2E214182-0DEA-40C8-A376-7C0F5D518EA8}"/>
              </a:ext>
            </a:extLst>
          </p:cNvPr>
          <p:cNvSpPr/>
          <p:nvPr/>
        </p:nvSpPr>
        <p:spPr bwMode="gray">
          <a:xfrm>
            <a:off x="1867383" y="4800150"/>
            <a:ext cx="630885" cy="24045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pt-BR" sz="1800" b="0" i="0" u="none" baseline="0" dirty="0">
              <a:solidFill>
                <a:srgbClr val="FFFFFF"/>
              </a:solidFill>
              <a:latin typeface="Arial" panose="020B0604020202020204" pitchFamily="34" charset="0"/>
            </a:endParaRPr>
          </a:p>
        </p:txBody>
      </p:sp>
      <p:sp>
        <p:nvSpPr>
          <p:cNvPr id="69" name="Seta: para a Direita 68">
            <a:extLst>
              <a:ext uri="{FF2B5EF4-FFF2-40B4-BE49-F238E27FC236}">
                <a16:creationId xmlns:a16="http://schemas.microsoft.com/office/drawing/2014/main" id="{244583BB-38B7-4896-9A74-9C48F5DDDBB4}"/>
              </a:ext>
            </a:extLst>
          </p:cNvPr>
          <p:cNvSpPr/>
          <p:nvPr/>
        </p:nvSpPr>
        <p:spPr bwMode="gray">
          <a:xfrm>
            <a:off x="3933279" y="4797947"/>
            <a:ext cx="630885" cy="23449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pt-BR" sz="1800" b="0" i="0" u="none" baseline="0" dirty="0">
              <a:solidFill>
                <a:srgbClr val="FFFFFF"/>
              </a:solidFill>
              <a:latin typeface="Arial" panose="020B0604020202020204" pitchFamily="34" charset="0"/>
            </a:endParaRPr>
          </a:p>
        </p:txBody>
      </p:sp>
      <p:sp>
        <p:nvSpPr>
          <p:cNvPr id="30" name="CaixaDeTexto 29">
            <a:extLst>
              <a:ext uri="{FF2B5EF4-FFF2-40B4-BE49-F238E27FC236}">
                <a16:creationId xmlns:a16="http://schemas.microsoft.com/office/drawing/2014/main" id="{AF6D0B6B-61A4-42D8-B73B-32309A61686B}"/>
              </a:ext>
            </a:extLst>
          </p:cNvPr>
          <p:cNvSpPr txBox="1"/>
          <p:nvPr/>
        </p:nvSpPr>
        <p:spPr bwMode="gray">
          <a:xfrm>
            <a:off x="770805" y="5407844"/>
            <a:ext cx="422031" cy="278824"/>
          </a:xfrm>
          <a:prstGeom prst="rect">
            <a:avLst/>
          </a:prstGeom>
          <a:noFill/>
        </p:spPr>
        <p:txBody>
          <a:bodyPr vert="horz" wrap="none" lIns="0" tIns="0" rIns="0" bIns="0" rtlCol="0">
            <a:noAutofit/>
          </a:bodyPr>
          <a:lstStyle/>
          <a:p>
            <a:pPr algn="l" rtl="0" eaLnBrk="1" fontAlgn="auto" hangingPunct="1">
              <a:lnSpc>
                <a:spcPct val="100000"/>
              </a:lnSpc>
              <a:spcBef>
                <a:spcPts val="0"/>
              </a:spcBef>
              <a:spcAft>
                <a:spcPts val="0"/>
              </a:spcAft>
            </a:pPr>
            <a:r>
              <a:rPr lang="pt-BR" sz="1800" b="0" i="0" u="none" baseline="0" dirty="0">
                <a:solidFill>
                  <a:srgbClr val="000000"/>
                </a:solidFill>
                <a:latin typeface="Arial" panose="020B0604020202020204" pitchFamily="34" charset="0"/>
              </a:rPr>
              <a:t>CD</a:t>
            </a:r>
          </a:p>
        </p:txBody>
      </p:sp>
      <p:sp>
        <p:nvSpPr>
          <p:cNvPr id="32" name="CaixaDeTexto 31">
            <a:extLst>
              <a:ext uri="{FF2B5EF4-FFF2-40B4-BE49-F238E27FC236}">
                <a16:creationId xmlns:a16="http://schemas.microsoft.com/office/drawing/2014/main" id="{43D79888-7BC9-4EAE-B953-36479D03B590}"/>
              </a:ext>
            </a:extLst>
          </p:cNvPr>
          <p:cNvSpPr txBox="1"/>
          <p:nvPr/>
        </p:nvSpPr>
        <p:spPr bwMode="gray">
          <a:xfrm>
            <a:off x="2723692" y="5413455"/>
            <a:ext cx="1300903" cy="283777"/>
          </a:xfrm>
          <a:prstGeom prst="rect">
            <a:avLst/>
          </a:prstGeom>
          <a:noFill/>
        </p:spPr>
        <p:txBody>
          <a:bodyPr vert="horz" wrap="none" lIns="0" tIns="0" rIns="0" bIns="0" rtlCol="0">
            <a:noAutofit/>
          </a:bodyPr>
          <a:lstStyle/>
          <a:p>
            <a:pPr algn="l" rtl="0" eaLnBrk="1" fontAlgn="auto" hangingPunct="1">
              <a:lnSpc>
                <a:spcPct val="100000"/>
              </a:lnSpc>
              <a:spcBef>
                <a:spcPts val="0"/>
              </a:spcBef>
              <a:spcAft>
                <a:spcPts val="0"/>
              </a:spcAft>
            </a:pPr>
            <a:r>
              <a:rPr lang="pt-BR" sz="1800" b="0" i="0" u="none" baseline="0" dirty="0">
                <a:solidFill>
                  <a:srgbClr val="000000"/>
                </a:solidFill>
                <a:latin typeface="Arial" panose="020B0604020202020204" pitchFamily="34" charset="0"/>
              </a:rPr>
              <a:t>Transporte</a:t>
            </a:r>
          </a:p>
        </p:txBody>
      </p:sp>
      <p:sp>
        <p:nvSpPr>
          <p:cNvPr id="33" name="CaixaDeTexto 32">
            <a:extLst>
              <a:ext uri="{FF2B5EF4-FFF2-40B4-BE49-F238E27FC236}">
                <a16:creationId xmlns:a16="http://schemas.microsoft.com/office/drawing/2014/main" id="{8FCCA1F4-93EB-4051-8C79-7B6B41A95E09}"/>
              </a:ext>
            </a:extLst>
          </p:cNvPr>
          <p:cNvSpPr txBox="1"/>
          <p:nvPr/>
        </p:nvSpPr>
        <p:spPr bwMode="gray">
          <a:xfrm>
            <a:off x="4274819" y="5270860"/>
            <a:ext cx="2742922" cy="562457"/>
          </a:xfrm>
          <a:prstGeom prst="rect">
            <a:avLst/>
          </a:prstGeom>
          <a:noFill/>
        </p:spPr>
        <p:txBody>
          <a:bodyPr vert="horz" wrap="none" lIns="0" tIns="0" rIns="0" bIns="0" rtlCol="0">
            <a:noAutofit/>
          </a:bodyPr>
          <a:lstStyle/>
          <a:p>
            <a:pPr algn="ctr" rtl="0" eaLnBrk="1" fontAlgn="auto" hangingPunct="1">
              <a:lnSpc>
                <a:spcPct val="100000"/>
              </a:lnSpc>
              <a:spcBef>
                <a:spcPts val="0"/>
              </a:spcBef>
              <a:spcAft>
                <a:spcPts val="0"/>
              </a:spcAft>
            </a:pPr>
            <a:r>
              <a:rPr lang="pt-BR" dirty="0">
                <a:solidFill>
                  <a:srgbClr val="000000"/>
                </a:solidFill>
                <a:latin typeface="Arial" panose="020B0604020202020204" pitchFamily="34" charset="0"/>
              </a:rPr>
              <a:t>Cliente </a:t>
            </a:r>
          </a:p>
          <a:p>
            <a:pPr algn="ctr" rtl="0" eaLnBrk="1" fontAlgn="auto" hangingPunct="1">
              <a:lnSpc>
                <a:spcPct val="100000"/>
              </a:lnSpc>
              <a:spcBef>
                <a:spcPts val="0"/>
              </a:spcBef>
              <a:spcAft>
                <a:spcPts val="0"/>
              </a:spcAft>
            </a:pPr>
            <a:r>
              <a:rPr lang="pt-BR" dirty="0">
                <a:solidFill>
                  <a:srgbClr val="000000"/>
                </a:solidFill>
                <a:latin typeface="Arial" panose="020B0604020202020204" pitchFamily="34" charset="0"/>
              </a:rPr>
              <a:t>(Distribuidoras\Agricultor)</a:t>
            </a:r>
          </a:p>
        </p:txBody>
      </p:sp>
    </p:spTree>
    <p:extLst>
      <p:ext uri="{BB962C8B-B14F-4D97-AF65-F5344CB8AC3E}">
        <p14:creationId xmlns:p14="http://schemas.microsoft.com/office/powerpoint/2010/main" val="944204428"/>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18000">
              <a:schemeClr val="accent1">
                <a:lumMod val="10000"/>
                <a:lumOff val="90000"/>
              </a:schemeClr>
            </a:gs>
            <a:gs pos="58000">
              <a:schemeClr val="accent1">
                <a:lumMod val="50000"/>
                <a:lumOff val="50000"/>
              </a:schemeClr>
            </a:gs>
            <a:gs pos="100000">
              <a:schemeClr val="accent1">
                <a:lumMod val="90000"/>
                <a:lumOff val="10000"/>
              </a:schemeClr>
            </a:gs>
          </a:gsLst>
          <a:lin ang="6120000" scaled="1"/>
        </a:gradFill>
        <a:effectLst/>
      </p:bgPr>
    </p:bg>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dirty="0" err="1"/>
              <a:t>Logistica</a:t>
            </a:r>
            <a:r>
              <a:rPr lang="en-US" dirty="0"/>
              <a:t> - </a:t>
            </a:r>
            <a:r>
              <a:rPr lang="en-US" dirty="0" err="1"/>
              <a:t>RoundUp</a:t>
            </a:r>
            <a:endParaRPr lang="en-US" dirty="0"/>
          </a:p>
        </p:txBody>
      </p:sp>
      <p:sp>
        <p:nvSpPr>
          <p:cNvPr id="2" name="Title 1"/>
          <p:cNvSpPr>
            <a:spLocks noGrp="1"/>
          </p:cNvSpPr>
          <p:nvPr>
            <p:ph type="title"/>
          </p:nvPr>
        </p:nvSpPr>
        <p:spPr/>
        <p:txBody>
          <a:bodyPr/>
          <a:lstStyle/>
          <a:p>
            <a:r>
              <a:rPr lang="en-US" dirty="0"/>
              <a:t>Distribution CP</a:t>
            </a:r>
          </a:p>
        </p:txBody>
      </p:sp>
      <p:sp>
        <p:nvSpPr>
          <p:cNvPr id="3" name="Text Placeholder 2"/>
          <p:cNvSpPr>
            <a:spLocks noGrp="1"/>
          </p:cNvSpPr>
          <p:nvPr>
            <p:ph sz="quarter" idx="14"/>
          </p:nvPr>
        </p:nvSpPr>
        <p:spPr>
          <a:xfrm>
            <a:off x="981820" y="1732751"/>
            <a:ext cx="10798461" cy="2275115"/>
          </a:xfrm>
        </p:spPr>
        <p:txBody>
          <a:bodyPr/>
          <a:lstStyle/>
          <a:p>
            <a:r>
              <a:rPr lang="en-US" dirty="0" err="1"/>
              <a:t>Operação</a:t>
            </a:r>
            <a:r>
              <a:rPr lang="en-US" dirty="0"/>
              <a:t> VIRA</a:t>
            </a:r>
          </a:p>
          <a:p>
            <a:pPr marL="555750" lvl="1" indent="-285750">
              <a:buFontTx/>
              <a:buChar char="-"/>
            </a:pPr>
            <a:r>
              <a:rPr lang="en-US" dirty="0" err="1"/>
              <a:t>Tranferir</a:t>
            </a:r>
            <a:r>
              <a:rPr lang="en-US" dirty="0"/>
              <a:t> material da Planta para </a:t>
            </a:r>
            <a:r>
              <a:rPr lang="en-US" dirty="0" err="1"/>
              <a:t>Guararema</a:t>
            </a:r>
            <a:endParaRPr lang="en-US" dirty="0"/>
          </a:p>
          <a:p>
            <a:r>
              <a:rPr lang="en-US" dirty="0" err="1"/>
              <a:t>Operação</a:t>
            </a:r>
            <a:r>
              <a:rPr lang="en-US" dirty="0"/>
              <a:t>  de </a:t>
            </a:r>
            <a:r>
              <a:rPr lang="en-US" dirty="0" err="1"/>
              <a:t>Transferencia</a:t>
            </a:r>
            <a:r>
              <a:rPr lang="en-US" dirty="0"/>
              <a:t> </a:t>
            </a:r>
            <a:r>
              <a:rPr lang="en-US" dirty="0" err="1"/>
              <a:t>Direta</a:t>
            </a:r>
            <a:endParaRPr lang="en-US" dirty="0"/>
          </a:p>
          <a:p>
            <a:pPr marL="555750" lvl="1" indent="-285750">
              <a:buFontTx/>
              <a:buChar char="-"/>
            </a:pPr>
            <a:r>
              <a:rPr lang="en-US" dirty="0" err="1"/>
              <a:t>Tranferir</a:t>
            </a:r>
            <a:r>
              <a:rPr lang="en-US" dirty="0"/>
              <a:t> material da Planta para outros CDs</a:t>
            </a:r>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p:txBody>
      </p:sp>
      <p:sp>
        <p:nvSpPr>
          <p:cNvPr id="13" name="Fußzeilenplatzhalter 12"/>
          <p:cNvSpPr>
            <a:spLocks noGrp="1"/>
          </p:cNvSpPr>
          <p:nvPr>
            <p:ph type="ftr" sz="quarter" idx="11"/>
          </p:nvPr>
        </p:nvSpPr>
        <p:spPr/>
        <p:txBody>
          <a:bodyPr/>
          <a:lstStyle/>
          <a:p>
            <a:r>
              <a:rPr lang="en-US"/>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6</a:t>
            </a:fld>
            <a:endParaRPr lang="en-US" dirty="0"/>
          </a:p>
        </p:txBody>
      </p:sp>
      <p:grpSp>
        <p:nvGrpSpPr>
          <p:cNvPr id="7" name="组合 50">
            <a:extLst>
              <a:ext uri="{FF2B5EF4-FFF2-40B4-BE49-F238E27FC236}">
                <a16:creationId xmlns:a16="http://schemas.microsoft.com/office/drawing/2014/main" id="{446649DD-850A-4A66-8868-A91B7B7BDBCC}"/>
              </a:ext>
            </a:extLst>
          </p:cNvPr>
          <p:cNvGrpSpPr/>
          <p:nvPr/>
        </p:nvGrpSpPr>
        <p:grpSpPr>
          <a:xfrm>
            <a:off x="6713968" y="596121"/>
            <a:ext cx="4433225" cy="4676269"/>
            <a:chOff x="503937" y="1273175"/>
            <a:chExt cx="6146250" cy="6483210"/>
          </a:xfrm>
        </p:grpSpPr>
        <p:grpSp>
          <p:nvGrpSpPr>
            <p:cNvPr id="8" name="Group 22">
              <a:extLst>
                <a:ext uri="{FF2B5EF4-FFF2-40B4-BE49-F238E27FC236}">
                  <a16:creationId xmlns:a16="http://schemas.microsoft.com/office/drawing/2014/main" id="{AA08AA30-B35E-4A27-B3CC-E3A8049B107E}"/>
                </a:ext>
              </a:extLst>
            </p:cNvPr>
            <p:cNvGrpSpPr>
              <a:grpSpLocks/>
            </p:cNvGrpSpPr>
            <p:nvPr/>
          </p:nvGrpSpPr>
          <p:grpSpPr bwMode="auto">
            <a:xfrm>
              <a:off x="1608287" y="1273175"/>
              <a:ext cx="5041900" cy="5038725"/>
              <a:chOff x="265" y="802"/>
              <a:chExt cx="3176" cy="3174"/>
            </a:xfrm>
          </p:grpSpPr>
          <p:sp>
            <p:nvSpPr>
              <p:cNvPr id="41" name="Freeform 23">
                <a:extLst>
                  <a:ext uri="{FF2B5EF4-FFF2-40B4-BE49-F238E27FC236}">
                    <a16:creationId xmlns:a16="http://schemas.microsoft.com/office/drawing/2014/main" id="{28467F0D-8AAA-461F-9237-A1ECF0BD1A03}"/>
                  </a:ext>
                </a:extLst>
              </p:cNvPr>
              <p:cNvSpPr>
                <a:spLocks/>
              </p:cNvSpPr>
              <p:nvPr/>
            </p:nvSpPr>
            <p:spPr bwMode="auto">
              <a:xfrm>
                <a:off x="848" y="1883"/>
                <a:ext cx="567" cy="471"/>
              </a:xfrm>
              <a:custGeom>
                <a:avLst/>
                <a:gdLst/>
                <a:ahLst/>
                <a:cxnLst>
                  <a:cxn ang="0">
                    <a:pos x="2645" y="2550"/>
                  </a:cxn>
                  <a:cxn ang="0">
                    <a:pos x="2684" y="2454"/>
                  </a:cxn>
                  <a:cxn ang="0">
                    <a:pos x="2779" y="2418"/>
                  </a:cxn>
                  <a:cxn ang="0">
                    <a:pos x="2858" y="2231"/>
                  </a:cxn>
                  <a:cxn ang="0">
                    <a:pos x="2956" y="2159"/>
                  </a:cxn>
                  <a:cxn ang="0">
                    <a:pos x="3027" y="2003"/>
                  </a:cxn>
                  <a:cxn ang="0">
                    <a:pos x="3015" y="1836"/>
                  </a:cxn>
                  <a:cxn ang="0">
                    <a:pos x="2944" y="1716"/>
                  </a:cxn>
                  <a:cxn ang="0">
                    <a:pos x="2921" y="1608"/>
                  </a:cxn>
                  <a:cxn ang="0">
                    <a:pos x="3015" y="1536"/>
                  </a:cxn>
                  <a:cxn ang="0">
                    <a:pos x="2988" y="1417"/>
                  </a:cxn>
                  <a:cxn ang="0">
                    <a:pos x="2858" y="1405"/>
                  </a:cxn>
                  <a:cxn ang="0">
                    <a:pos x="2775" y="1341"/>
                  </a:cxn>
                  <a:cxn ang="0">
                    <a:pos x="2539" y="1345"/>
                  </a:cxn>
                  <a:cxn ang="0">
                    <a:pos x="2318" y="1341"/>
                  </a:cxn>
                  <a:cxn ang="0">
                    <a:pos x="2291" y="962"/>
                  </a:cxn>
                  <a:cxn ang="0">
                    <a:pos x="2342" y="854"/>
                  </a:cxn>
                  <a:cxn ang="0">
                    <a:pos x="2271" y="591"/>
                  </a:cxn>
                  <a:cxn ang="0">
                    <a:pos x="2314" y="479"/>
                  </a:cxn>
                  <a:cxn ang="0">
                    <a:pos x="2318" y="360"/>
                  </a:cxn>
                  <a:cxn ang="0">
                    <a:pos x="2198" y="334"/>
                  </a:cxn>
                  <a:cxn ang="0">
                    <a:pos x="2102" y="394"/>
                  </a:cxn>
                  <a:cxn ang="0">
                    <a:pos x="1949" y="204"/>
                  </a:cxn>
                  <a:cxn ang="0">
                    <a:pos x="1824" y="114"/>
                  </a:cxn>
                  <a:cxn ang="0">
                    <a:pos x="1725" y="0"/>
                  </a:cxn>
                  <a:cxn ang="0">
                    <a:pos x="1484" y="16"/>
                  </a:cxn>
                  <a:cxn ang="0">
                    <a:pos x="1241" y="180"/>
                  </a:cxn>
                  <a:cxn ang="0">
                    <a:pos x="1244" y="297"/>
                  </a:cxn>
                  <a:cxn ang="0">
                    <a:pos x="1185" y="411"/>
                  </a:cxn>
                  <a:cxn ang="0">
                    <a:pos x="990" y="459"/>
                  </a:cxn>
                  <a:cxn ang="0">
                    <a:pos x="855" y="468"/>
                  </a:cxn>
                  <a:cxn ang="0">
                    <a:pos x="771" y="563"/>
                  </a:cxn>
                  <a:cxn ang="0">
                    <a:pos x="676" y="591"/>
                  </a:cxn>
                  <a:cxn ang="0">
                    <a:pos x="428" y="627"/>
                  </a:cxn>
                  <a:cxn ang="0">
                    <a:pos x="158" y="625"/>
                  </a:cxn>
                  <a:cxn ang="0">
                    <a:pos x="110" y="741"/>
                  </a:cxn>
                  <a:cxn ang="0">
                    <a:pos x="0" y="807"/>
                  </a:cxn>
                  <a:cxn ang="0">
                    <a:pos x="62" y="886"/>
                  </a:cxn>
                  <a:cxn ang="0">
                    <a:pos x="153" y="825"/>
                  </a:cxn>
                  <a:cxn ang="0">
                    <a:pos x="300" y="817"/>
                  </a:cxn>
                  <a:cxn ang="0">
                    <a:pos x="452" y="783"/>
                  </a:cxn>
                  <a:cxn ang="0">
                    <a:pos x="542" y="825"/>
                  </a:cxn>
                  <a:cxn ang="0">
                    <a:pos x="603" y="783"/>
                  </a:cxn>
                  <a:cxn ang="0">
                    <a:pos x="674" y="828"/>
                  </a:cxn>
                  <a:cxn ang="0">
                    <a:pos x="660" y="1018"/>
                  </a:cxn>
                  <a:cxn ang="0">
                    <a:pos x="593" y="1161"/>
                  </a:cxn>
                  <a:cxn ang="0">
                    <a:pos x="676" y="1345"/>
                  </a:cxn>
                  <a:cxn ang="0">
                    <a:pos x="629" y="1465"/>
                  </a:cxn>
                  <a:cxn ang="0">
                    <a:pos x="688" y="1596"/>
                  </a:cxn>
                  <a:cxn ang="0">
                    <a:pos x="708" y="1680"/>
                  </a:cxn>
                  <a:cxn ang="0">
                    <a:pos x="838" y="1788"/>
                  </a:cxn>
                  <a:cxn ang="0">
                    <a:pos x="991" y="1896"/>
                  </a:cxn>
                  <a:cxn ang="0">
                    <a:pos x="1038" y="1975"/>
                  </a:cxn>
                  <a:cxn ang="0">
                    <a:pos x="1216" y="2015"/>
                  </a:cxn>
                  <a:cxn ang="0">
                    <a:pos x="1373" y="1999"/>
                  </a:cxn>
                  <a:cxn ang="0">
                    <a:pos x="1539" y="2131"/>
                  </a:cxn>
                  <a:cxn ang="0">
                    <a:pos x="1605" y="2071"/>
                  </a:cxn>
                  <a:cxn ang="0">
                    <a:pos x="1735" y="2243"/>
                  </a:cxn>
                  <a:cxn ang="0">
                    <a:pos x="1999" y="2279"/>
                  </a:cxn>
                  <a:cxn ang="0">
                    <a:pos x="2090" y="2398"/>
                  </a:cxn>
                  <a:cxn ang="0">
                    <a:pos x="2184" y="2458"/>
                  </a:cxn>
                  <a:cxn ang="0">
                    <a:pos x="2460" y="2466"/>
                  </a:cxn>
                  <a:cxn ang="0">
                    <a:pos x="2645" y="2550"/>
                  </a:cxn>
                </a:cxnLst>
                <a:rect l="0" t="0" r="r" b="b"/>
                <a:pathLst>
                  <a:path w="3027" h="2550">
                    <a:moveTo>
                      <a:pt x="2645" y="2550"/>
                    </a:moveTo>
                    <a:lnTo>
                      <a:pt x="2684" y="2454"/>
                    </a:lnTo>
                    <a:lnTo>
                      <a:pt x="2779" y="2418"/>
                    </a:lnTo>
                    <a:lnTo>
                      <a:pt x="2858" y="2231"/>
                    </a:lnTo>
                    <a:lnTo>
                      <a:pt x="2956" y="2159"/>
                    </a:lnTo>
                    <a:lnTo>
                      <a:pt x="3027" y="2003"/>
                    </a:lnTo>
                    <a:lnTo>
                      <a:pt x="3015" y="1836"/>
                    </a:lnTo>
                    <a:lnTo>
                      <a:pt x="2944" y="1716"/>
                    </a:lnTo>
                    <a:lnTo>
                      <a:pt x="2921" y="1608"/>
                    </a:lnTo>
                    <a:lnTo>
                      <a:pt x="3015" y="1536"/>
                    </a:lnTo>
                    <a:lnTo>
                      <a:pt x="2988" y="1417"/>
                    </a:lnTo>
                    <a:lnTo>
                      <a:pt x="2858" y="1405"/>
                    </a:lnTo>
                    <a:lnTo>
                      <a:pt x="2775" y="1341"/>
                    </a:lnTo>
                    <a:lnTo>
                      <a:pt x="2539" y="1345"/>
                    </a:lnTo>
                    <a:lnTo>
                      <a:pt x="2318" y="1341"/>
                    </a:lnTo>
                    <a:lnTo>
                      <a:pt x="2291" y="962"/>
                    </a:lnTo>
                    <a:lnTo>
                      <a:pt x="2342" y="854"/>
                    </a:lnTo>
                    <a:lnTo>
                      <a:pt x="2271" y="591"/>
                    </a:lnTo>
                    <a:lnTo>
                      <a:pt x="2314" y="479"/>
                    </a:lnTo>
                    <a:lnTo>
                      <a:pt x="2318" y="360"/>
                    </a:lnTo>
                    <a:lnTo>
                      <a:pt x="2198" y="334"/>
                    </a:lnTo>
                    <a:lnTo>
                      <a:pt x="2102" y="394"/>
                    </a:lnTo>
                    <a:lnTo>
                      <a:pt x="1949" y="204"/>
                    </a:lnTo>
                    <a:lnTo>
                      <a:pt x="1824" y="114"/>
                    </a:lnTo>
                    <a:lnTo>
                      <a:pt x="1725" y="0"/>
                    </a:lnTo>
                    <a:lnTo>
                      <a:pt x="1484" y="16"/>
                    </a:lnTo>
                    <a:lnTo>
                      <a:pt x="1241" y="180"/>
                    </a:lnTo>
                    <a:lnTo>
                      <a:pt x="1244" y="297"/>
                    </a:lnTo>
                    <a:lnTo>
                      <a:pt x="1185" y="411"/>
                    </a:lnTo>
                    <a:lnTo>
                      <a:pt x="990" y="459"/>
                    </a:lnTo>
                    <a:lnTo>
                      <a:pt x="855" y="468"/>
                    </a:lnTo>
                    <a:lnTo>
                      <a:pt x="771" y="563"/>
                    </a:lnTo>
                    <a:lnTo>
                      <a:pt x="676" y="591"/>
                    </a:lnTo>
                    <a:lnTo>
                      <a:pt x="428" y="627"/>
                    </a:lnTo>
                    <a:lnTo>
                      <a:pt x="158" y="625"/>
                    </a:lnTo>
                    <a:lnTo>
                      <a:pt x="110" y="741"/>
                    </a:lnTo>
                    <a:lnTo>
                      <a:pt x="0" y="807"/>
                    </a:lnTo>
                    <a:lnTo>
                      <a:pt x="62" y="886"/>
                    </a:lnTo>
                    <a:lnTo>
                      <a:pt x="153" y="825"/>
                    </a:lnTo>
                    <a:lnTo>
                      <a:pt x="300" y="817"/>
                    </a:lnTo>
                    <a:lnTo>
                      <a:pt x="452" y="783"/>
                    </a:lnTo>
                    <a:lnTo>
                      <a:pt x="542" y="825"/>
                    </a:lnTo>
                    <a:lnTo>
                      <a:pt x="603" y="783"/>
                    </a:lnTo>
                    <a:lnTo>
                      <a:pt x="674" y="828"/>
                    </a:lnTo>
                    <a:lnTo>
                      <a:pt x="660" y="1018"/>
                    </a:lnTo>
                    <a:lnTo>
                      <a:pt x="593" y="1161"/>
                    </a:lnTo>
                    <a:lnTo>
                      <a:pt x="676" y="1345"/>
                    </a:lnTo>
                    <a:lnTo>
                      <a:pt x="629" y="1465"/>
                    </a:lnTo>
                    <a:lnTo>
                      <a:pt x="688" y="1596"/>
                    </a:lnTo>
                    <a:lnTo>
                      <a:pt x="708" y="1680"/>
                    </a:lnTo>
                    <a:lnTo>
                      <a:pt x="838" y="1788"/>
                    </a:lnTo>
                    <a:lnTo>
                      <a:pt x="991" y="1896"/>
                    </a:lnTo>
                    <a:lnTo>
                      <a:pt x="1038" y="1975"/>
                    </a:lnTo>
                    <a:lnTo>
                      <a:pt x="1216" y="2015"/>
                    </a:lnTo>
                    <a:lnTo>
                      <a:pt x="1373" y="1999"/>
                    </a:lnTo>
                    <a:lnTo>
                      <a:pt x="1539" y="2131"/>
                    </a:lnTo>
                    <a:lnTo>
                      <a:pt x="1605" y="2071"/>
                    </a:lnTo>
                    <a:lnTo>
                      <a:pt x="1735" y="2243"/>
                    </a:lnTo>
                    <a:lnTo>
                      <a:pt x="1999" y="2279"/>
                    </a:lnTo>
                    <a:lnTo>
                      <a:pt x="2090" y="2398"/>
                    </a:lnTo>
                    <a:lnTo>
                      <a:pt x="2184" y="2458"/>
                    </a:lnTo>
                    <a:lnTo>
                      <a:pt x="2460" y="2466"/>
                    </a:lnTo>
                    <a:lnTo>
                      <a:pt x="2645" y="255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2" name="Freeform 24">
                <a:extLst>
                  <a:ext uri="{FF2B5EF4-FFF2-40B4-BE49-F238E27FC236}">
                    <a16:creationId xmlns:a16="http://schemas.microsoft.com/office/drawing/2014/main" id="{CF748B10-7EE5-4461-B418-AA5050D209A2}"/>
                  </a:ext>
                </a:extLst>
              </p:cNvPr>
              <p:cNvSpPr>
                <a:spLocks/>
              </p:cNvSpPr>
              <p:nvPr/>
            </p:nvSpPr>
            <p:spPr bwMode="auto">
              <a:xfrm>
                <a:off x="265" y="1819"/>
                <a:ext cx="594" cy="325"/>
              </a:xfrm>
              <a:custGeom>
                <a:avLst/>
                <a:gdLst/>
                <a:ahLst/>
                <a:cxnLst>
                  <a:cxn ang="0">
                    <a:pos x="101" y="0"/>
                  </a:cxn>
                  <a:cxn ang="0">
                    <a:pos x="0" y="226"/>
                  </a:cxn>
                  <a:cxn ang="0">
                    <a:pos x="94" y="341"/>
                  </a:cxn>
                  <a:cxn ang="0">
                    <a:pos x="261" y="695"/>
                  </a:cxn>
                  <a:cxn ang="0">
                    <a:pos x="562" y="1078"/>
                  </a:cxn>
                  <a:cxn ang="0">
                    <a:pos x="445" y="1236"/>
                  </a:cxn>
                  <a:cxn ang="0">
                    <a:pos x="652" y="1266"/>
                  </a:cxn>
                  <a:cxn ang="0">
                    <a:pos x="828" y="1316"/>
                  </a:cxn>
                  <a:cxn ang="0">
                    <a:pos x="947" y="1415"/>
                  </a:cxn>
                  <a:cxn ang="0">
                    <a:pos x="1060" y="1585"/>
                  </a:cxn>
                  <a:cxn ang="0">
                    <a:pos x="1508" y="1565"/>
                  </a:cxn>
                  <a:cxn ang="0">
                    <a:pos x="1828" y="1284"/>
                  </a:cxn>
                  <a:cxn ang="0">
                    <a:pos x="1887" y="1435"/>
                  </a:cxn>
                  <a:cxn ang="0">
                    <a:pos x="1813" y="1570"/>
                  </a:cxn>
                  <a:cxn ang="0">
                    <a:pos x="1847" y="2049"/>
                  </a:cxn>
                  <a:cxn ang="0">
                    <a:pos x="2004" y="2164"/>
                  </a:cxn>
                  <a:cxn ang="0">
                    <a:pos x="2187" y="2089"/>
                  </a:cxn>
                  <a:cxn ang="0">
                    <a:pos x="2420" y="2085"/>
                  </a:cxn>
                  <a:cxn ang="0">
                    <a:pos x="2674" y="2094"/>
                  </a:cxn>
                  <a:cxn ang="0">
                    <a:pos x="2880" y="2199"/>
                  </a:cxn>
                  <a:cxn ang="0">
                    <a:pos x="3052" y="2164"/>
                  </a:cxn>
                  <a:cxn ang="0">
                    <a:pos x="3279" y="1939"/>
                  </a:cxn>
                  <a:cxn ang="0">
                    <a:pos x="3451" y="1944"/>
                  </a:cxn>
                  <a:cxn ang="0">
                    <a:pos x="3775" y="1705"/>
                  </a:cxn>
                  <a:cxn ang="0">
                    <a:pos x="3967" y="1540"/>
                  </a:cxn>
                  <a:cxn ang="0">
                    <a:pos x="3893" y="1435"/>
                  </a:cxn>
                  <a:cxn ang="0">
                    <a:pos x="3627" y="1346"/>
                  </a:cxn>
                  <a:cxn ang="0">
                    <a:pos x="2801" y="956"/>
                  </a:cxn>
                  <a:cxn ang="0">
                    <a:pos x="2299" y="718"/>
                  </a:cxn>
                  <a:cxn ang="0">
                    <a:pos x="2063" y="538"/>
                  </a:cxn>
                  <a:cxn ang="0">
                    <a:pos x="1611" y="448"/>
                  </a:cxn>
                  <a:cxn ang="0">
                    <a:pos x="1006" y="269"/>
                  </a:cxn>
                  <a:cxn ang="0">
                    <a:pos x="868" y="254"/>
                  </a:cxn>
                  <a:cxn ang="0">
                    <a:pos x="101" y="0"/>
                  </a:cxn>
                </a:cxnLst>
                <a:rect l="0" t="0" r="r" b="b"/>
                <a:pathLst>
                  <a:path w="3967" h="2199">
                    <a:moveTo>
                      <a:pt x="101" y="0"/>
                    </a:moveTo>
                    <a:lnTo>
                      <a:pt x="0" y="226"/>
                    </a:lnTo>
                    <a:lnTo>
                      <a:pt x="94" y="341"/>
                    </a:lnTo>
                    <a:lnTo>
                      <a:pt x="261" y="695"/>
                    </a:lnTo>
                    <a:lnTo>
                      <a:pt x="562" y="1078"/>
                    </a:lnTo>
                    <a:lnTo>
                      <a:pt x="445" y="1236"/>
                    </a:lnTo>
                    <a:lnTo>
                      <a:pt x="652" y="1266"/>
                    </a:lnTo>
                    <a:lnTo>
                      <a:pt x="828" y="1316"/>
                    </a:lnTo>
                    <a:lnTo>
                      <a:pt x="947" y="1415"/>
                    </a:lnTo>
                    <a:lnTo>
                      <a:pt x="1060" y="1585"/>
                    </a:lnTo>
                    <a:lnTo>
                      <a:pt x="1508" y="1565"/>
                    </a:lnTo>
                    <a:lnTo>
                      <a:pt x="1828" y="1284"/>
                    </a:lnTo>
                    <a:lnTo>
                      <a:pt x="1887" y="1435"/>
                    </a:lnTo>
                    <a:lnTo>
                      <a:pt x="1813" y="1570"/>
                    </a:lnTo>
                    <a:lnTo>
                      <a:pt x="1847" y="2049"/>
                    </a:lnTo>
                    <a:lnTo>
                      <a:pt x="2004" y="2164"/>
                    </a:lnTo>
                    <a:lnTo>
                      <a:pt x="2187" y="2089"/>
                    </a:lnTo>
                    <a:lnTo>
                      <a:pt x="2420" y="2085"/>
                    </a:lnTo>
                    <a:lnTo>
                      <a:pt x="2674" y="2094"/>
                    </a:lnTo>
                    <a:lnTo>
                      <a:pt x="2880" y="2199"/>
                    </a:lnTo>
                    <a:lnTo>
                      <a:pt x="3052" y="2164"/>
                    </a:lnTo>
                    <a:lnTo>
                      <a:pt x="3279" y="1939"/>
                    </a:lnTo>
                    <a:lnTo>
                      <a:pt x="3451" y="1944"/>
                    </a:lnTo>
                    <a:lnTo>
                      <a:pt x="3775" y="1705"/>
                    </a:lnTo>
                    <a:lnTo>
                      <a:pt x="3967" y="1540"/>
                    </a:lnTo>
                    <a:lnTo>
                      <a:pt x="3893" y="1435"/>
                    </a:lnTo>
                    <a:lnTo>
                      <a:pt x="3627" y="1346"/>
                    </a:lnTo>
                    <a:lnTo>
                      <a:pt x="2801" y="956"/>
                    </a:lnTo>
                    <a:lnTo>
                      <a:pt x="2299" y="718"/>
                    </a:lnTo>
                    <a:lnTo>
                      <a:pt x="2063" y="538"/>
                    </a:lnTo>
                    <a:lnTo>
                      <a:pt x="1611" y="448"/>
                    </a:lnTo>
                    <a:lnTo>
                      <a:pt x="1006" y="269"/>
                    </a:lnTo>
                    <a:lnTo>
                      <a:pt x="868" y="254"/>
                    </a:lnTo>
                    <a:lnTo>
                      <a:pt x="101"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3" name="Freeform 25">
                <a:extLst>
                  <a:ext uri="{FF2B5EF4-FFF2-40B4-BE49-F238E27FC236}">
                    <a16:creationId xmlns:a16="http://schemas.microsoft.com/office/drawing/2014/main" id="{E418B519-2FCD-4084-8728-8B35B3A42E4E}"/>
                  </a:ext>
                </a:extLst>
              </p:cNvPr>
              <p:cNvSpPr>
                <a:spLocks/>
              </p:cNvSpPr>
              <p:nvPr/>
            </p:nvSpPr>
            <p:spPr bwMode="auto">
              <a:xfrm>
                <a:off x="280" y="1053"/>
                <a:ext cx="1429" cy="979"/>
              </a:xfrm>
              <a:custGeom>
                <a:avLst/>
                <a:gdLst/>
                <a:ahLst/>
                <a:cxnLst>
                  <a:cxn ang="0">
                    <a:pos x="2374" y="189"/>
                  </a:cxn>
                  <a:cxn ang="0">
                    <a:pos x="1961" y="208"/>
                  </a:cxn>
                  <a:cxn ang="0">
                    <a:pos x="1713" y="304"/>
                  </a:cxn>
                  <a:cxn ang="0">
                    <a:pos x="1799" y="512"/>
                  </a:cxn>
                  <a:cxn ang="0">
                    <a:pos x="2008" y="572"/>
                  </a:cxn>
                  <a:cxn ang="0">
                    <a:pos x="1941" y="691"/>
                  </a:cxn>
                  <a:cxn ang="0">
                    <a:pos x="1729" y="715"/>
                  </a:cxn>
                  <a:cxn ang="0">
                    <a:pos x="1599" y="927"/>
                  </a:cxn>
                  <a:cxn ang="0">
                    <a:pos x="1811" y="1206"/>
                  </a:cxn>
                  <a:cxn ang="0">
                    <a:pos x="1902" y="1453"/>
                  </a:cxn>
                  <a:cxn ang="0">
                    <a:pos x="1878" y="1693"/>
                  </a:cxn>
                  <a:cxn ang="0">
                    <a:pos x="1559" y="2918"/>
                  </a:cxn>
                  <a:cxn ang="0">
                    <a:pos x="1288" y="2822"/>
                  </a:cxn>
                  <a:cxn ang="0">
                    <a:pos x="1087" y="2938"/>
                  </a:cxn>
                  <a:cxn ang="0">
                    <a:pos x="366" y="3281"/>
                  </a:cxn>
                  <a:cxn ang="0">
                    <a:pos x="240" y="3612"/>
                  </a:cxn>
                  <a:cxn ang="0">
                    <a:pos x="276" y="3852"/>
                  </a:cxn>
                  <a:cxn ang="0">
                    <a:pos x="12" y="4039"/>
                  </a:cxn>
                  <a:cxn ang="0">
                    <a:pos x="619" y="4356"/>
                  </a:cxn>
                  <a:cxn ang="0">
                    <a:pos x="1215" y="4512"/>
                  </a:cxn>
                  <a:cxn ang="0">
                    <a:pos x="1764" y="4729"/>
                  </a:cxn>
                  <a:cxn ang="0">
                    <a:pos x="3036" y="5300"/>
                  </a:cxn>
                  <a:cxn ang="0">
                    <a:pos x="3193" y="5120"/>
                  </a:cxn>
                  <a:cxn ang="0">
                    <a:pos x="3708" y="5085"/>
                  </a:cxn>
                  <a:cxn ang="0">
                    <a:pos x="3890" y="4961"/>
                  </a:cxn>
                  <a:cxn ang="0">
                    <a:pos x="4221" y="4905"/>
                  </a:cxn>
                  <a:cxn ang="0">
                    <a:pos x="4280" y="4674"/>
                  </a:cxn>
                  <a:cxn ang="0">
                    <a:pos x="4761" y="4494"/>
                  </a:cxn>
                  <a:cxn ang="0">
                    <a:pos x="4989" y="4701"/>
                  </a:cxn>
                  <a:cxn ang="0">
                    <a:pos x="5233" y="4829"/>
                  </a:cxn>
                  <a:cxn ang="0">
                    <a:pos x="6674" y="4853"/>
                  </a:cxn>
                  <a:cxn ang="0">
                    <a:pos x="6796" y="4123"/>
                  </a:cxn>
                  <a:cxn ang="0">
                    <a:pos x="7635" y="2040"/>
                  </a:cxn>
                  <a:cxn ang="0">
                    <a:pos x="7099" y="1661"/>
                  </a:cxn>
                  <a:cxn ang="0">
                    <a:pos x="6621" y="1291"/>
                  </a:cxn>
                  <a:cxn ang="0">
                    <a:pos x="6548" y="951"/>
                  </a:cxn>
                  <a:cxn ang="0">
                    <a:pos x="6300" y="871"/>
                  </a:cxn>
                  <a:cxn ang="0">
                    <a:pos x="5970" y="955"/>
                  </a:cxn>
                  <a:cxn ang="0">
                    <a:pos x="5895" y="1240"/>
                  </a:cxn>
                  <a:cxn ang="0">
                    <a:pos x="5745" y="1327"/>
                  </a:cxn>
                  <a:cxn ang="0">
                    <a:pos x="5473" y="1190"/>
                  </a:cxn>
                  <a:cxn ang="0">
                    <a:pos x="5341" y="1467"/>
                  </a:cxn>
                  <a:cxn ang="0">
                    <a:pos x="5208" y="1576"/>
                  </a:cxn>
                  <a:cxn ang="0">
                    <a:pos x="4954" y="1338"/>
                  </a:cxn>
                  <a:cxn ang="0">
                    <a:pos x="5013" y="1137"/>
                  </a:cxn>
                  <a:cxn ang="0">
                    <a:pos x="4953" y="577"/>
                  </a:cxn>
                  <a:cxn ang="0">
                    <a:pos x="4822" y="258"/>
                  </a:cxn>
                  <a:cxn ang="0">
                    <a:pos x="4678" y="69"/>
                  </a:cxn>
                  <a:cxn ang="0">
                    <a:pos x="4381" y="78"/>
                  </a:cxn>
                  <a:cxn ang="0">
                    <a:pos x="4246" y="237"/>
                  </a:cxn>
                  <a:cxn ang="0">
                    <a:pos x="4040" y="352"/>
                  </a:cxn>
                  <a:cxn ang="0">
                    <a:pos x="3607" y="687"/>
                  </a:cxn>
                  <a:cxn ang="0">
                    <a:pos x="3497" y="536"/>
                  </a:cxn>
                  <a:cxn ang="0">
                    <a:pos x="3012" y="416"/>
                  </a:cxn>
                  <a:cxn ang="0">
                    <a:pos x="2922" y="256"/>
                  </a:cxn>
                  <a:cxn ang="0">
                    <a:pos x="2804" y="9"/>
                  </a:cxn>
                  <a:cxn ang="0">
                    <a:pos x="2551" y="208"/>
                  </a:cxn>
                </a:cxnLst>
                <a:rect l="0" t="0" r="r" b="b"/>
                <a:pathLst>
                  <a:path w="7635" h="5300">
                    <a:moveTo>
                      <a:pt x="2422" y="79"/>
                    </a:moveTo>
                    <a:lnTo>
                      <a:pt x="2374" y="189"/>
                    </a:lnTo>
                    <a:lnTo>
                      <a:pt x="2143" y="225"/>
                    </a:lnTo>
                    <a:lnTo>
                      <a:pt x="1961" y="208"/>
                    </a:lnTo>
                    <a:lnTo>
                      <a:pt x="1744" y="210"/>
                    </a:lnTo>
                    <a:lnTo>
                      <a:pt x="1713" y="304"/>
                    </a:lnTo>
                    <a:lnTo>
                      <a:pt x="1717" y="464"/>
                    </a:lnTo>
                    <a:lnTo>
                      <a:pt x="1799" y="512"/>
                    </a:lnTo>
                    <a:lnTo>
                      <a:pt x="1961" y="508"/>
                    </a:lnTo>
                    <a:lnTo>
                      <a:pt x="2008" y="572"/>
                    </a:lnTo>
                    <a:lnTo>
                      <a:pt x="2024" y="651"/>
                    </a:lnTo>
                    <a:lnTo>
                      <a:pt x="1941" y="691"/>
                    </a:lnTo>
                    <a:lnTo>
                      <a:pt x="1859" y="663"/>
                    </a:lnTo>
                    <a:lnTo>
                      <a:pt x="1729" y="715"/>
                    </a:lnTo>
                    <a:lnTo>
                      <a:pt x="1610" y="735"/>
                    </a:lnTo>
                    <a:lnTo>
                      <a:pt x="1599" y="927"/>
                    </a:lnTo>
                    <a:lnTo>
                      <a:pt x="1618" y="1106"/>
                    </a:lnTo>
                    <a:lnTo>
                      <a:pt x="1811" y="1206"/>
                    </a:lnTo>
                    <a:lnTo>
                      <a:pt x="1819" y="1338"/>
                    </a:lnTo>
                    <a:lnTo>
                      <a:pt x="1902" y="1453"/>
                    </a:lnTo>
                    <a:lnTo>
                      <a:pt x="1914" y="1561"/>
                    </a:lnTo>
                    <a:lnTo>
                      <a:pt x="1878" y="1693"/>
                    </a:lnTo>
                    <a:lnTo>
                      <a:pt x="1666" y="2842"/>
                    </a:lnTo>
                    <a:lnTo>
                      <a:pt x="1559" y="2918"/>
                    </a:lnTo>
                    <a:lnTo>
                      <a:pt x="1500" y="2810"/>
                    </a:lnTo>
                    <a:lnTo>
                      <a:pt x="1288" y="2822"/>
                    </a:lnTo>
                    <a:lnTo>
                      <a:pt x="1217" y="2902"/>
                    </a:lnTo>
                    <a:lnTo>
                      <a:pt x="1087" y="2938"/>
                    </a:lnTo>
                    <a:lnTo>
                      <a:pt x="803" y="2974"/>
                    </a:lnTo>
                    <a:lnTo>
                      <a:pt x="366" y="3281"/>
                    </a:lnTo>
                    <a:lnTo>
                      <a:pt x="347" y="3480"/>
                    </a:lnTo>
                    <a:lnTo>
                      <a:pt x="240" y="3612"/>
                    </a:lnTo>
                    <a:lnTo>
                      <a:pt x="236" y="3732"/>
                    </a:lnTo>
                    <a:lnTo>
                      <a:pt x="276" y="3852"/>
                    </a:lnTo>
                    <a:lnTo>
                      <a:pt x="122" y="3931"/>
                    </a:lnTo>
                    <a:lnTo>
                      <a:pt x="12" y="4039"/>
                    </a:lnTo>
                    <a:lnTo>
                      <a:pt x="0" y="4151"/>
                    </a:lnTo>
                    <a:lnTo>
                      <a:pt x="619" y="4356"/>
                    </a:lnTo>
                    <a:lnTo>
                      <a:pt x="732" y="4369"/>
                    </a:lnTo>
                    <a:lnTo>
                      <a:pt x="1215" y="4512"/>
                    </a:lnTo>
                    <a:lnTo>
                      <a:pt x="1573" y="4584"/>
                    </a:lnTo>
                    <a:lnTo>
                      <a:pt x="1764" y="4729"/>
                    </a:lnTo>
                    <a:lnTo>
                      <a:pt x="2839" y="5236"/>
                    </a:lnTo>
                    <a:lnTo>
                      <a:pt x="3036" y="5300"/>
                    </a:lnTo>
                    <a:lnTo>
                      <a:pt x="3146" y="5236"/>
                    </a:lnTo>
                    <a:lnTo>
                      <a:pt x="3193" y="5120"/>
                    </a:lnTo>
                    <a:lnTo>
                      <a:pt x="3477" y="5120"/>
                    </a:lnTo>
                    <a:lnTo>
                      <a:pt x="3708" y="5085"/>
                    </a:lnTo>
                    <a:lnTo>
                      <a:pt x="3810" y="5058"/>
                    </a:lnTo>
                    <a:lnTo>
                      <a:pt x="3890" y="4961"/>
                    </a:lnTo>
                    <a:lnTo>
                      <a:pt x="4020" y="4953"/>
                    </a:lnTo>
                    <a:lnTo>
                      <a:pt x="4221" y="4905"/>
                    </a:lnTo>
                    <a:lnTo>
                      <a:pt x="4280" y="4793"/>
                    </a:lnTo>
                    <a:lnTo>
                      <a:pt x="4280" y="4674"/>
                    </a:lnTo>
                    <a:lnTo>
                      <a:pt x="4524" y="4510"/>
                    </a:lnTo>
                    <a:lnTo>
                      <a:pt x="4761" y="4494"/>
                    </a:lnTo>
                    <a:lnTo>
                      <a:pt x="4867" y="4614"/>
                    </a:lnTo>
                    <a:lnTo>
                      <a:pt x="4989" y="4701"/>
                    </a:lnTo>
                    <a:lnTo>
                      <a:pt x="5139" y="4889"/>
                    </a:lnTo>
                    <a:lnTo>
                      <a:pt x="5233" y="4829"/>
                    </a:lnTo>
                    <a:lnTo>
                      <a:pt x="5363" y="4857"/>
                    </a:lnTo>
                    <a:lnTo>
                      <a:pt x="6674" y="4853"/>
                    </a:lnTo>
                    <a:lnTo>
                      <a:pt x="6808" y="4235"/>
                    </a:lnTo>
                    <a:lnTo>
                      <a:pt x="6796" y="4123"/>
                    </a:lnTo>
                    <a:lnTo>
                      <a:pt x="6698" y="4015"/>
                    </a:lnTo>
                    <a:lnTo>
                      <a:pt x="7635" y="2040"/>
                    </a:lnTo>
                    <a:lnTo>
                      <a:pt x="7348" y="1777"/>
                    </a:lnTo>
                    <a:lnTo>
                      <a:pt x="7099" y="1661"/>
                    </a:lnTo>
                    <a:lnTo>
                      <a:pt x="6863" y="1541"/>
                    </a:lnTo>
                    <a:lnTo>
                      <a:pt x="6621" y="1291"/>
                    </a:lnTo>
                    <a:lnTo>
                      <a:pt x="6521" y="1046"/>
                    </a:lnTo>
                    <a:lnTo>
                      <a:pt x="6548" y="951"/>
                    </a:lnTo>
                    <a:lnTo>
                      <a:pt x="6531" y="853"/>
                    </a:lnTo>
                    <a:lnTo>
                      <a:pt x="6300" y="871"/>
                    </a:lnTo>
                    <a:lnTo>
                      <a:pt x="6085" y="859"/>
                    </a:lnTo>
                    <a:lnTo>
                      <a:pt x="5970" y="955"/>
                    </a:lnTo>
                    <a:lnTo>
                      <a:pt x="5908" y="1093"/>
                    </a:lnTo>
                    <a:lnTo>
                      <a:pt x="5895" y="1240"/>
                    </a:lnTo>
                    <a:lnTo>
                      <a:pt x="5839" y="1334"/>
                    </a:lnTo>
                    <a:lnTo>
                      <a:pt x="5745" y="1327"/>
                    </a:lnTo>
                    <a:lnTo>
                      <a:pt x="5601" y="1194"/>
                    </a:lnTo>
                    <a:lnTo>
                      <a:pt x="5473" y="1190"/>
                    </a:lnTo>
                    <a:lnTo>
                      <a:pt x="5352" y="1332"/>
                    </a:lnTo>
                    <a:lnTo>
                      <a:pt x="5341" y="1467"/>
                    </a:lnTo>
                    <a:lnTo>
                      <a:pt x="5329" y="1585"/>
                    </a:lnTo>
                    <a:lnTo>
                      <a:pt x="5208" y="1576"/>
                    </a:lnTo>
                    <a:lnTo>
                      <a:pt x="5131" y="1447"/>
                    </a:lnTo>
                    <a:lnTo>
                      <a:pt x="4954" y="1338"/>
                    </a:lnTo>
                    <a:lnTo>
                      <a:pt x="5025" y="1237"/>
                    </a:lnTo>
                    <a:lnTo>
                      <a:pt x="5013" y="1137"/>
                    </a:lnTo>
                    <a:lnTo>
                      <a:pt x="4920" y="999"/>
                    </a:lnTo>
                    <a:lnTo>
                      <a:pt x="4953" y="577"/>
                    </a:lnTo>
                    <a:lnTo>
                      <a:pt x="4914" y="416"/>
                    </a:lnTo>
                    <a:lnTo>
                      <a:pt x="4822" y="258"/>
                    </a:lnTo>
                    <a:lnTo>
                      <a:pt x="4834" y="129"/>
                    </a:lnTo>
                    <a:lnTo>
                      <a:pt x="4678" y="69"/>
                    </a:lnTo>
                    <a:lnTo>
                      <a:pt x="4560" y="0"/>
                    </a:lnTo>
                    <a:lnTo>
                      <a:pt x="4381" y="78"/>
                    </a:lnTo>
                    <a:lnTo>
                      <a:pt x="4290" y="91"/>
                    </a:lnTo>
                    <a:lnTo>
                      <a:pt x="4246" y="237"/>
                    </a:lnTo>
                    <a:lnTo>
                      <a:pt x="4134" y="340"/>
                    </a:lnTo>
                    <a:lnTo>
                      <a:pt x="4040" y="352"/>
                    </a:lnTo>
                    <a:lnTo>
                      <a:pt x="3890" y="424"/>
                    </a:lnTo>
                    <a:lnTo>
                      <a:pt x="3607" y="687"/>
                    </a:lnTo>
                    <a:lnTo>
                      <a:pt x="3579" y="568"/>
                    </a:lnTo>
                    <a:lnTo>
                      <a:pt x="3497" y="536"/>
                    </a:lnTo>
                    <a:lnTo>
                      <a:pt x="3272" y="643"/>
                    </a:lnTo>
                    <a:lnTo>
                      <a:pt x="3012" y="416"/>
                    </a:lnTo>
                    <a:lnTo>
                      <a:pt x="2898" y="416"/>
                    </a:lnTo>
                    <a:lnTo>
                      <a:pt x="2922" y="256"/>
                    </a:lnTo>
                    <a:lnTo>
                      <a:pt x="2847" y="177"/>
                    </a:lnTo>
                    <a:lnTo>
                      <a:pt x="2804" y="9"/>
                    </a:lnTo>
                    <a:lnTo>
                      <a:pt x="2647" y="91"/>
                    </a:lnTo>
                    <a:lnTo>
                      <a:pt x="2551" y="208"/>
                    </a:lnTo>
                    <a:lnTo>
                      <a:pt x="2422" y="7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4" name="Freeform 26">
                <a:extLst>
                  <a:ext uri="{FF2B5EF4-FFF2-40B4-BE49-F238E27FC236}">
                    <a16:creationId xmlns:a16="http://schemas.microsoft.com/office/drawing/2014/main" id="{A9D0BCE8-AE19-4ECC-A2A6-FE0504DD2FC7}"/>
                  </a:ext>
                </a:extLst>
              </p:cNvPr>
              <p:cNvSpPr>
                <a:spLocks/>
              </p:cNvSpPr>
              <p:nvPr/>
            </p:nvSpPr>
            <p:spPr bwMode="auto">
              <a:xfrm>
                <a:off x="1274" y="1817"/>
                <a:ext cx="928" cy="895"/>
              </a:xfrm>
              <a:custGeom>
                <a:avLst/>
                <a:gdLst/>
                <a:ahLst/>
                <a:cxnLst>
                  <a:cxn ang="0">
                    <a:pos x="492" y="2993"/>
                  </a:cxn>
                  <a:cxn ang="0">
                    <a:pos x="551" y="3304"/>
                  </a:cxn>
                  <a:cxn ang="0">
                    <a:pos x="440" y="3532"/>
                  </a:cxn>
                  <a:cxn ang="0">
                    <a:pos x="578" y="3998"/>
                  </a:cxn>
                  <a:cxn ang="0">
                    <a:pos x="1319" y="4223"/>
                  </a:cxn>
                  <a:cxn ang="0">
                    <a:pos x="1453" y="4569"/>
                  </a:cxn>
                  <a:cxn ang="0">
                    <a:pos x="1626" y="4700"/>
                  </a:cxn>
                  <a:cxn ang="0">
                    <a:pos x="1880" y="4700"/>
                  </a:cxn>
                  <a:cxn ang="0">
                    <a:pos x="2126" y="4523"/>
                  </a:cxn>
                  <a:cxn ang="0">
                    <a:pos x="2410" y="4477"/>
                  </a:cxn>
                  <a:cxn ang="0">
                    <a:pos x="2693" y="4700"/>
                  </a:cxn>
                  <a:cxn ang="0">
                    <a:pos x="2961" y="4597"/>
                  </a:cxn>
                  <a:cxn ang="0">
                    <a:pos x="3177" y="4617"/>
                  </a:cxn>
                  <a:cxn ang="0">
                    <a:pos x="3320" y="4561"/>
                  </a:cxn>
                  <a:cxn ang="0">
                    <a:pos x="3209" y="4760"/>
                  </a:cxn>
                  <a:cxn ang="0">
                    <a:pos x="3425" y="4832"/>
                  </a:cxn>
                  <a:cxn ang="0">
                    <a:pos x="3544" y="4641"/>
                  </a:cxn>
                  <a:cxn ang="0">
                    <a:pos x="3610" y="4429"/>
                  </a:cxn>
                  <a:cxn ang="0">
                    <a:pos x="3752" y="4245"/>
                  </a:cxn>
                  <a:cxn ang="0">
                    <a:pos x="3953" y="3862"/>
                  </a:cxn>
                  <a:cxn ang="0">
                    <a:pos x="4213" y="3695"/>
                  </a:cxn>
                  <a:cxn ang="0">
                    <a:pos x="4453" y="3483"/>
                  </a:cxn>
                  <a:cxn ang="0">
                    <a:pos x="4544" y="3184"/>
                  </a:cxn>
                  <a:cxn ang="0">
                    <a:pos x="4626" y="2969"/>
                  </a:cxn>
                  <a:cxn ang="0">
                    <a:pos x="4796" y="2574"/>
                  </a:cxn>
                  <a:cxn ang="0">
                    <a:pos x="4744" y="2346"/>
                  </a:cxn>
                  <a:cxn ang="0">
                    <a:pos x="4851" y="1415"/>
                  </a:cxn>
                  <a:cxn ang="0">
                    <a:pos x="2725" y="1073"/>
                  </a:cxn>
                  <a:cxn ang="0">
                    <a:pos x="1937" y="834"/>
                  </a:cxn>
                  <a:cxn ang="0">
                    <a:pos x="1732" y="491"/>
                  </a:cxn>
                  <a:cxn ang="0">
                    <a:pos x="1496" y="0"/>
                  </a:cxn>
                  <a:cxn ang="0">
                    <a:pos x="1370" y="714"/>
                  </a:cxn>
                  <a:cxn ang="0">
                    <a:pos x="42" y="833"/>
                  </a:cxn>
                  <a:cxn ang="0">
                    <a:pos x="71" y="1211"/>
                  </a:cxn>
                  <a:cxn ang="0">
                    <a:pos x="47" y="1696"/>
                  </a:cxn>
                  <a:cxn ang="0">
                    <a:pos x="506" y="1697"/>
                  </a:cxn>
                  <a:cxn ang="0">
                    <a:pos x="719" y="1774"/>
                  </a:cxn>
                  <a:cxn ang="0">
                    <a:pos x="651" y="1964"/>
                  </a:cxn>
                  <a:cxn ang="0">
                    <a:pos x="744" y="2192"/>
                  </a:cxn>
                  <a:cxn ang="0">
                    <a:pos x="684" y="2516"/>
                  </a:cxn>
                  <a:cxn ang="0">
                    <a:pos x="508" y="2773"/>
                  </a:cxn>
                  <a:cxn ang="0">
                    <a:pos x="375" y="2906"/>
                  </a:cxn>
                </a:cxnLst>
                <a:rect l="0" t="0" r="r" b="b"/>
                <a:pathLst>
                  <a:path w="4961" h="4846">
                    <a:moveTo>
                      <a:pt x="375" y="2906"/>
                    </a:moveTo>
                    <a:lnTo>
                      <a:pt x="492" y="2993"/>
                    </a:lnTo>
                    <a:lnTo>
                      <a:pt x="473" y="3110"/>
                    </a:lnTo>
                    <a:lnTo>
                      <a:pt x="551" y="3304"/>
                    </a:lnTo>
                    <a:lnTo>
                      <a:pt x="563" y="3514"/>
                    </a:lnTo>
                    <a:lnTo>
                      <a:pt x="440" y="3532"/>
                    </a:lnTo>
                    <a:lnTo>
                      <a:pt x="552" y="3677"/>
                    </a:lnTo>
                    <a:lnTo>
                      <a:pt x="578" y="3998"/>
                    </a:lnTo>
                    <a:lnTo>
                      <a:pt x="1401" y="4058"/>
                    </a:lnTo>
                    <a:lnTo>
                      <a:pt x="1319" y="4223"/>
                    </a:lnTo>
                    <a:lnTo>
                      <a:pt x="1343" y="4453"/>
                    </a:lnTo>
                    <a:lnTo>
                      <a:pt x="1453" y="4569"/>
                    </a:lnTo>
                    <a:lnTo>
                      <a:pt x="1581" y="4580"/>
                    </a:lnTo>
                    <a:lnTo>
                      <a:pt x="1626" y="4700"/>
                    </a:lnTo>
                    <a:lnTo>
                      <a:pt x="1739" y="4741"/>
                    </a:lnTo>
                    <a:lnTo>
                      <a:pt x="1880" y="4700"/>
                    </a:lnTo>
                    <a:lnTo>
                      <a:pt x="2007" y="4525"/>
                    </a:lnTo>
                    <a:lnTo>
                      <a:pt x="2126" y="4523"/>
                    </a:lnTo>
                    <a:lnTo>
                      <a:pt x="2256" y="4461"/>
                    </a:lnTo>
                    <a:lnTo>
                      <a:pt x="2410" y="4477"/>
                    </a:lnTo>
                    <a:lnTo>
                      <a:pt x="2516" y="4549"/>
                    </a:lnTo>
                    <a:lnTo>
                      <a:pt x="2693" y="4700"/>
                    </a:lnTo>
                    <a:lnTo>
                      <a:pt x="2843" y="4644"/>
                    </a:lnTo>
                    <a:lnTo>
                      <a:pt x="2961" y="4597"/>
                    </a:lnTo>
                    <a:lnTo>
                      <a:pt x="3067" y="4644"/>
                    </a:lnTo>
                    <a:lnTo>
                      <a:pt x="3177" y="4617"/>
                    </a:lnTo>
                    <a:lnTo>
                      <a:pt x="3284" y="4497"/>
                    </a:lnTo>
                    <a:lnTo>
                      <a:pt x="3320" y="4561"/>
                    </a:lnTo>
                    <a:lnTo>
                      <a:pt x="3293" y="4649"/>
                    </a:lnTo>
                    <a:lnTo>
                      <a:pt x="3209" y="4760"/>
                    </a:lnTo>
                    <a:lnTo>
                      <a:pt x="3272" y="4846"/>
                    </a:lnTo>
                    <a:lnTo>
                      <a:pt x="3425" y="4832"/>
                    </a:lnTo>
                    <a:lnTo>
                      <a:pt x="3553" y="4791"/>
                    </a:lnTo>
                    <a:lnTo>
                      <a:pt x="3544" y="4641"/>
                    </a:lnTo>
                    <a:lnTo>
                      <a:pt x="3551" y="4513"/>
                    </a:lnTo>
                    <a:lnTo>
                      <a:pt x="3610" y="4429"/>
                    </a:lnTo>
                    <a:lnTo>
                      <a:pt x="3614" y="4305"/>
                    </a:lnTo>
                    <a:lnTo>
                      <a:pt x="3752" y="4245"/>
                    </a:lnTo>
                    <a:lnTo>
                      <a:pt x="3823" y="4106"/>
                    </a:lnTo>
                    <a:lnTo>
                      <a:pt x="3953" y="3862"/>
                    </a:lnTo>
                    <a:lnTo>
                      <a:pt x="4099" y="3827"/>
                    </a:lnTo>
                    <a:lnTo>
                      <a:pt x="4213" y="3695"/>
                    </a:lnTo>
                    <a:lnTo>
                      <a:pt x="4288" y="3527"/>
                    </a:lnTo>
                    <a:lnTo>
                      <a:pt x="4453" y="3483"/>
                    </a:lnTo>
                    <a:lnTo>
                      <a:pt x="4536" y="3336"/>
                    </a:lnTo>
                    <a:lnTo>
                      <a:pt x="4544" y="3184"/>
                    </a:lnTo>
                    <a:lnTo>
                      <a:pt x="4618" y="3084"/>
                    </a:lnTo>
                    <a:lnTo>
                      <a:pt x="4626" y="2969"/>
                    </a:lnTo>
                    <a:lnTo>
                      <a:pt x="4725" y="2713"/>
                    </a:lnTo>
                    <a:lnTo>
                      <a:pt x="4796" y="2574"/>
                    </a:lnTo>
                    <a:lnTo>
                      <a:pt x="4701" y="2490"/>
                    </a:lnTo>
                    <a:lnTo>
                      <a:pt x="4744" y="2346"/>
                    </a:lnTo>
                    <a:lnTo>
                      <a:pt x="4709" y="1923"/>
                    </a:lnTo>
                    <a:lnTo>
                      <a:pt x="4851" y="1415"/>
                    </a:lnTo>
                    <a:lnTo>
                      <a:pt x="4961" y="1221"/>
                    </a:lnTo>
                    <a:lnTo>
                      <a:pt x="2725" y="1073"/>
                    </a:lnTo>
                    <a:lnTo>
                      <a:pt x="2126" y="1006"/>
                    </a:lnTo>
                    <a:lnTo>
                      <a:pt x="1937" y="834"/>
                    </a:lnTo>
                    <a:lnTo>
                      <a:pt x="1724" y="654"/>
                    </a:lnTo>
                    <a:lnTo>
                      <a:pt x="1732" y="491"/>
                    </a:lnTo>
                    <a:lnTo>
                      <a:pt x="1650" y="247"/>
                    </a:lnTo>
                    <a:lnTo>
                      <a:pt x="1496" y="0"/>
                    </a:lnTo>
                    <a:lnTo>
                      <a:pt x="1496" y="92"/>
                    </a:lnTo>
                    <a:lnTo>
                      <a:pt x="1370" y="714"/>
                    </a:lnTo>
                    <a:lnTo>
                      <a:pt x="45" y="718"/>
                    </a:lnTo>
                    <a:lnTo>
                      <a:pt x="42" y="833"/>
                    </a:lnTo>
                    <a:lnTo>
                      <a:pt x="0" y="947"/>
                    </a:lnTo>
                    <a:lnTo>
                      <a:pt x="71" y="1211"/>
                    </a:lnTo>
                    <a:lnTo>
                      <a:pt x="20" y="1317"/>
                    </a:lnTo>
                    <a:lnTo>
                      <a:pt x="47" y="1696"/>
                    </a:lnTo>
                    <a:lnTo>
                      <a:pt x="272" y="1699"/>
                    </a:lnTo>
                    <a:lnTo>
                      <a:pt x="506" y="1697"/>
                    </a:lnTo>
                    <a:lnTo>
                      <a:pt x="585" y="1759"/>
                    </a:lnTo>
                    <a:lnTo>
                      <a:pt x="719" y="1774"/>
                    </a:lnTo>
                    <a:lnTo>
                      <a:pt x="743" y="1891"/>
                    </a:lnTo>
                    <a:lnTo>
                      <a:pt x="651" y="1964"/>
                    </a:lnTo>
                    <a:lnTo>
                      <a:pt x="672" y="2072"/>
                    </a:lnTo>
                    <a:lnTo>
                      <a:pt x="744" y="2192"/>
                    </a:lnTo>
                    <a:lnTo>
                      <a:pt x="756" y="2359"/>
                    </a:lnTo>
                    <a:lnTo>
                      <a:pt x="684" y="2516"/>
                    </a:lnTo>
                    <a:lnTo>
                      <a:pt x="587" y="2584"/>
                    </a:lnTo>
                    <a:lnTo>
                      <a:pt x="508" y="2773"/>
                    </a:lnTo>
                    <a:lnTo>
                      <a:pt x="410" y="2812"/>
                    </a:lnTo>
                    <a:lnTo>
                      <a:pt x="375" y="290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5" name="Freeform 27">
                <a:extLst>
                  <a:ext uri="{FF2B5EF4-FFF2-40B4-BE49-F238E27FC236}">
                    <a16:creationId xmlns:a16="http://schemas.microsoft.com/office/drawing/2014/main" id="{4A15B1D0-8780-43CE-9620-3859519E59BA}"/>
                  </a:ext>
                </a:extLst>
              </p:cNvPr>
              <p:cNvSpPr>
                <a:spLocks/>
              </p:cNvSpPr>
              <p:nvPr/>
            </p:nvSpPr>
            <p:spPr bwMode="auto">
              <a:xfrm>
                <a:off x="1493" y="1016"/>
                <a:ext cx="1056" cy="1027"/>
              </a:xfrm>
              <a:custGeom>
                <a:avLst/>
                <a:gdLst/>
                <a:ahLst/>
                <a:cxnLst>
                  <a:cxn ang="0">
                    <a:pos x="0" y="883"/>
                  </a:cxn>
                  <a:cxn ang="0">
                    <a:pos x="147" y="793"/>
                  </a:cxn>
                  <a:cxn ang="0">
                    <a:pos x="364" y="584"/>
                  </a:cxn>
                  <a:cxn ang="0">
                    <a:pos x="615" y="539"/>
                  </a:cxn>
                  <a:cxn ang="0">
                    <a:pos x="911" y="379"/>
                  </a:cxn>
                  <a:cxn ang="0">
                    <a:pos x="1176" y="419"/>
                  </a:cxn>
                  <a:cxn ang="0">
                    <a:pos x="1654" y="449"/>
                  </a:cxn>
                  <a:cxn ang="0">
                    <a:pos x="1595" y="200"/>
                  </a:cxn>
                  <a:cxn ang="0">
                    <a:pos x="1816" y="125"/>
                  </a:cxn>
                  <a:cxn ang="0">
                    <a:pos x="2166" y="0"/>
                  </a:cxn>
                  <a:cxn ang="0">
                    <a:pos x="2334" y="464"/>
                  </a:cxn>
                  <a:cxn ang="0">
                    <a:pos x="2672" y="544"/>
                  </a:cxn>
                  <a:cxn ang="0">
                    <a:pos x="3066" y="778"/>
                  </a:cxn>
                  <a:cxn ang="0">
                    <a:pos x="3233" y="1063"/>
                  </a:cxn>
                  <a:cxn ang="0">
                    <a:pos x="3288" y="1472"/>
                  </a:cxn>
                  <a:cxn ang="0">
                    <a:pos x="3598" y="1981"/>
                  </a:cxn>
                  <a:cxn ang="0">
                    <a:pos x="3885" y="2106"/>
                  </a:cxn>
                  <a:cxn ang="0">
                    <a:pos x="3980" y="2308"/>
                  </a:cxn>
                  <a:cxn ang="0">
                    <a:pos x="4400" y="1996"/>
                  </a:cxn>
                  <a:cxn ang="0">
                    <a:pos x="4483" y="2250"/>
                  </a:cxn>
                  <a:cxn ang="0">
                    <a:pos x="4691" y="2485"/>
                  </a:cxn>
                  <a:cxn ang="0">
                    <a:pos x="4897" y="2530"/>
                  </a:cxn>
                  <a:cxn ang="0">
                    <a:pos x="5311" y="2485"/>
                  </a:cxn>
                  <a:cxn ang="0">
                    <a:pos x="5267" y="2774"/>
                  </a:cxn>
                  <a:cxn ang="0">
                    <a:pos x="5827" y="2066"/>
                  </a:cxn>
                  <a:cxn ang="0">
                    <a:pos x="6108" y="1846"/>
                  </a:cxn>
                  <a:cxn ang="0">
                    <a:pos x="6616" y="1981"/>
                  </a:cxn>
                  <a:cxn ang="0">
                    <a:pos x="7053" y="2101"/>
                  </a:cxn>
                  <a:cxn ang="0">
                    <a:pos x="6713" y="3263"/>
                  </a:cxn>
                  <a:cxn ang="0">
                    <a:pos x="6329" y="3867"/>
                  </a:cxn>
                  <a:cxn ang="0">
                    <a:pos x="5758" y="4351"/>
                  </a:cxn>
                  <a:cxn ang="0">
                    <a:pos x="5792" y="4492"/>
                  </a:cxn>
                  <a:cxn ang="0">
                    <a:pos x="5827" y="4691"/>
                  </a:cxn>
                  <a:cxn ang="0">
                    <a:pos x="5729" y="4970"/>
                  </a:cxn>
                  <a:cxn ang="0">
                    <a:pos x="5299" y="5320"/>
                  </a:cxn>
                  <a:cxn ang="0">
                    <a:pos x="5227" y="5702"/>
                  </a:cxn>
                  <a:cxn ang="0">
                    <a:pos x="5117" y="6363"/>
                  </a:cxn>
                  <a:cxn ang="0">
                    <a:pos x="4823" y="6662"/>
                  </a:cxn>
                  <a:cxn ang="0">
                    <a:pos x="1949" y="6765"/>
                  </a:cxn>
                  <a:cxn ang="0">
                    <a:pos x="694" y="6231"/>
                  </a:cxn>
                  <a:cxn ang="0">
                    <a:pos x="600" y="5732"/>
                  </a:cxn>
                  <a:cxn ang="0">
                    <a:pos x="276" y="5259"/>
                  </a:cxn>
                  <a:cxn ang="0">
                    <a:pos x="1092" y="2475"/>
                  </a:cxn>
                  <a:cxn ang="0">
                    <a:pos x="177" y="1861"/>
                  </a:cxn>
                  <a:cxn ang="0">
                    <a:pos x="89" y="1437"/>
                  </a:cxn>
                </a:cxnLst>
                <a:rect l="0" t="0" r="r" b="b"/>
                <a:pathLst>
                  <a:path w="7053" h="6948">
                    <a:moveTo>
                      <a:pt x="69" y="1321"/>
                    </a:moveTo>
                    <a:lnTo>
                      <a:pt x="0" y="883"/>
                    </a:lnTo>
                    <a:lnTo>
                      <a:pt x="40" y="768"/>
                    </a:lnTo>
                    <a:lnTo>
                      <a:pt x="147" y="793"/>
                    </a:lnTo>
                    <a:lnTo>
                      <a:pt x="305" y="739"/>
                    </a:lnTo>
                    <a:lnTo>
                      <a:pt x="364" y="584"/>
                    </a:lnTo>
                    <a:lnTo>
                      <a:pt x="516" y="634"/>
                    </a:lnTo>
                    <a:lnTo>
                      <a:pt x="615" y="539"/>
                    </a:lnTo>
                    <a:lnTo>
                      <a:pt x="782" y="499"/>
                    </a:lnTo>
                    <a:lnTo>
                      <a:pt x="911" y="379"/>
                    </a:lnTo>
                    <a:lnTo>
                      <a:pt x="1034" y="359"/>
                    </a:lnTo>
                    <a:lnTo>
                      <a:pt x="1176" y="419"/>
                    </a:lnTo>
                    <a:lnTo>
                      <a:pt x="1314" y="374"/>
                    </a:lnTo>
                    <a:lnTo>
                      <a:pt x="1654" y="449"/>
                    </a:lnTo>
                    <a:lnTo>
                      <a:pt x="1699" y="319"/>
                    </a:lnTo>
                    <a:lnTo>
                      <a:pt x="1595" y="200"/>
                    </a:lnTo>
                    <a:lnTo>
                      <a:pt x="1679" y="80"/>
                    </a:lnTo>
                    <a:lnTo>
                      <a:pt x="1816" y="125"/>
                    </a:lnTo>
                    <a:lnTo>
                      <a:pt x="2022" y="105"/>
                    </a:lnTo>
                    <a:lnTo>
                      <a:pt x="2166" y="0"/>
                    </a:lnTo>
                    <a:lnTo>
                      <a:pt x="2334" y="95"/>
                    </a:lnTo>
                    <a:lnTo>
                      <a:pt x="2334" y="464"/>
                    </a:lnTo>
                    <a:lnTo>
                      <a:pt x="2496" y="479"/>
                    </a:lnTo>
                    <a:lnTo>
                      <a:pt x="2672" y="544"/>
                    </a:lnTo>
                    <a:lnTo>
                      <a:pt x="2835" y="674"/>
                    </a:lnTo>
                    <a:lnTo>
                      <a:pt x="3066" y="778"/>
                    </a:lnTo>
                    <a:lnTo>
                      <a:pt x="3071" y="978"/>
                    </a:lnTo>
                    <a:lnTo>
                      <a:pt x="3233" y="1063"/>
                    </a:lnTo>
                    <a:lnTo>
                      <a:pt x="3205" y="1242"/>
                    </a:lnTo>
                    <a:lnTo>
                      <a:pt x="3288" y="1472"/>
                    </a:lnTo>
                    <a:lnTo>
                      <a:pt x="3455" y="1607"/>
                    </a:lnTo>
                    <a:lnTo>
                      <a:pt x="3598" y="1981"/>
                    </a:lnTo>
                    <a:lnTo>
                      <a:pt x="3731" y="2131"/>
                    </a:lnTo>
                    <a:lnTo>
                      <a:pt x="3885" y="2106"/>
                    </a:lnTo>
                    <a:lnTo>
                      <a:pt x="3868" y="2250"/>
                    </a:lnTo>
                    <a:lnTo>
                      <a:pt x="3980" y="2308"/>
                    </a:lnTo>
                    <a:lnTo>
                      <a:pt x="4205" y="2162"/>
                    </a:lnTo>
                    <a:lnTo>
                      <a:pt x="4400" y="1996"/>
                    </a:lnTo>
                    <a:lnTo>
                      <a:pt x="4482" y="2057"/>
                    </a:lnTo>
                    <a:lnTo>
                      <a:pt x="4483" y="2250"/>
                    </a:lnTo>
                    <a:lnTo>
                      <a:pt x="4562" y="2470"/>
                    </a:lnTo>
                    <a:lnTo>
                      <a:pt x="4691" y="2485"/>
                    </a:lnTo>
                    <a:lnTo>
                      <a:pt x="4739" y="2560"/>
                    </a:lnTo>
                    <a:lnTo>
                      <a:pt x="4897" y="2530"/>
                    </a:lnTo>
                    <a:lnTo>
                      <a:pt x="5074" y="2530"/>
                    </a:lnTo>
                    <a:lnTo>
                      <a:pt x="5311" y="2485"/>
                    </a:lnTo>
                    <a:lnTo>
                      <a:pt x="5192" y="2754"/>
                    </a:lnTo>
                    <a:lnTo>
                      <a:pt x="5267" y="2774"/>
                    </a:lnTo>
                    <a:lnTo>
                      <a:pt x="5562" y="2370"/>
                    </a:lnTo>
                    <a:lnTo>
                      <a:pt x="5827" y="2066"/>
                    </a:lnTo>
                    <a:lnTo>
                      <a:pt x="5961" y="1916"/>
                    </a:lnTo>
                    <a:lnTo>
                      <a:pt x="6108" y="1846"/>
                    </a:lnTo>
                    <a:lnTo>
                      <a:pt x="6374" y="1856"/>
                    </a:lnTo>
                    <a:lnTo>
                      <a:pt x="6616" y="1981"/>
                    </a:lnTo>
                    <a:lnTo>
                      <a:pt x="6921" y="2026"/>
                    </a:lnTo>
                    <a:lnTo>
                      <a:pt x="7053" y="2101"/>
                    </a:lnTo>
                    <a:lnTo>
                      <a:pt x="6954" y="2620"/>
                    </a:lnTo>
                    <a:lnTo>
                      <a:pt x="6713" y="3263"/>
                    </a:lnTo>
                    <a:lnTo>
                      <a:pt x="6566" y="3433"/>
                    </a:lnTo>
                    <a:lnTo>
                      <a:pt x="6329" y="3867"/>
                    </a:lnTo>
                    <a:lnTo>
                      <a:pt x="6123" y="4032"/>
                    </a:lnTo>
                    <a:lnTo>
                      <a:pt x="5758" y="4351"/>
                    </a:lnTo>
                    <a:lnTo>
                      <a:pt x="5577" y="4461"/>
                    </a:lnTo>
                    <a:lnTo>
                      <a:pt x="5792" y="4492"/>
                    </a:lnTo>
                    <a:lnTo>
                      <a:pt x="5902" y="4612"/>
                    </a:lnTo>
                    <a:lnTo>
                      <a:pt x="5827" y="4691"/>
                    </a:lnTo>
                    <a:lnTo>
                      <a:pt x="5844" y="4820"/>
                    </a:lnTo>
                    <a:lnTo>
                      <a:pt x="5729" y="4970"/>
                    </a:lnTo>
                    <a:lnTo>
                      <a:pt x="5534" y="5222"/>
                    </a:lnTo>
                    <a:lnTo>
                      <a:pt x="5299" y="5320"/>
                    </a:lnTo>
                    <a:lnTo>
                      <a:pt x="5297" y="5497"/>
                    </a:lnTo>
                    <a:lnTo>
                      <a:pt x="5227" y="5702"/>
                    </a:lnTo>
                    <a:lnTo>
                      <a:pt x="5339" y="5908"/>
                    </a:lnTo>
                    <a:lnTo>
                      <a:pt x="5117" y="6363"/>
                    </a:lnTo>
                    <a:lnTo>
                      <a:pt x="4976" y="6467"/>
                    </a:lnTo>
                    <a:lnTo>
                      <a:pt x="4823" y="6662"/>
                    </a:lnTo>
                    <a:lnTo>
                      <a:pt x="4739" y="6948"/>
                    </a:lnTo>
                    <a:lnTo>
                      <a:pt x="1949" y="6765"/>
                    </a:lnTo>
                    <a:lnTo>
                      <a:pt x="1206" y="6682"/>
                    </a:lnTo>
                    <a:lnTo>
                      <a:pt x="694" y="6231"/>
                    </a:lnTo>
                    <a:lnTo>
                      <a:pt x="704" y="6048"/>
                    </a:lnTo>
                    <a:lnTo>
                      <a:pt x="600" y="5732"/>
                    </a:lnTo>
                    <a:lnTo>
                      <a:pt x="414" y="5434"/>
                    </a:lnTo>
                    <a:lnTo>
                      <a:pt x="276" y="5259"/>
                    </a:lnTo>
                    <a:lnTo>
                      <a:pt x="1447" y="2799"/>
                    </a:lnTo>
                    <a:lnTo>
                      <a:pt x="1092" y="2475"/>
                    </a:lnTo>
                    <a:lnTo>
                      <a:pt x="487" y="2186"/>
                    </a:lnTo>
                    <a:lnTo>
                      <a:pt x="177" y="1861"/>
                    </a:lnTo>
                    <a:lnTo>
                      <a:pt x="54" y="1557"/>
                    </a:lnTo>
                    <a:lnTo>
                      <a:pt x="89" y="1437"/>
                    </a:lnTo>
                    <a:lnTo>
                      <a:pt x="69" y="1321"/>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6" name="Freeform 28">
                <a:extLst>
                  <a:ext uri="{FF2B5EF4-FFF2-40B4-BE49-F238E27FC236}">
                    <a16:creationId xmlns:a16="http://schemas.microsoft.com/office/drawing/2014/main" id="{20B1709A-1941-4B85-9C53-94CB666F60FB}"/>
                  </a:ext>
                </a:extLst>
              </p:cNvPr>
              <p:cNvSpPr>
                <a:spLocks/>
              </p:cNvSpPr>
              <p:nvPr/>
            </p:nvSpPr>
            <p:spPr bwMode="auto">
              <a:xfrm>
                <a:off x="1842" y="872"/>
                <a:ext cx="400" cy="459"/>
              </a:xfrm>
              <a:custGeom>
                <a:avLst/>
                <a:gdLst/>
                <a:ahLst/>
                <a:cxnLst>
                  <a:cxn ang="0">
                    <a:pos x="4" y="1069"/>
                  </a:cxn>
                  <a:cxn ang="0">
                    <a:pos x="134" y="1156"/>
                  </a:cxn>
                  <a:cxn ang="0">
                    <a:pos x="275" y="1247"/>
                  </a:cxn>
                  <a:cxn ang="0">
                    <a:pos x="526" y="1137"/>
                  </a:cxn>
                  <a:cxn ang="0">
                    <a:pos x="734" y="1167"/>
                  </a:cxn>
                  <a:cxn ang="0">
                    <a:pos x="881" y="1197"/>
                  </a:cxn>
                  <a:cxn ang="0">
                    <a:pos x="1014" y="1217"/>
                  </a:cxn>
                  <a:cxn ang="0">
                    <a:pos x="1211" y="1032"/>
                  </a:cxn>
                  <a:cxn ang="0">
                    <a:pos x="1206" y="942"/>
                  </a:cxn>
                  <a:cxn ang="0">
                    <a:pos x="1324" y="679"/>
                  </a:cxn>
                  <a:cxn ang="0">
                    <a:pos x="1698" y="110"/>
                  </a:cxn>
                  <a:cxn ang="0">
                    <a:pos x="1753" y="0"/>
                  </a:cxn>
                  <a:cxn ang="0">
                    <a:pos x="1915" y="95"/>
                  </a:cxn>
                  <a:cxn ang="0">
                    <a:pos x="1959" y="259"/>
                  </a:cxn>
                  <a:cxn ang="0">
                    <a:pos x="2023" y="289"/>
                  </a:cxn>
                  <a:cxn ang="0">
                    <a:pos x="2033" y="614"/>
                  </a:cxn>
                  <a:cxn ang="0">
                    <a:pos x="2165" y="1007"/>
                  </a:cxn>
                  <a:cxn ang="0">
                    <a:pos x="2259" y="1247"/>
                  </a:cxn>
                  <a:cxn ang="0">
                    <a:pos x="2388" y="1436"/>
                  </a:cxn>
                  <a:cxn ang="0">
                    <a:pos x="2550" y="1441"/>
                  </a:cxn>
                  <a:cxn ang="0">
                    <a:pos x="2668" y="1531"/>
                  </a:cxn>
                  <a:cxn ang="0">
                    <a:pos x="2673" y="1676"/>
                  </a:cxn>
                  <a:cxn ang="0">
                    <a:pos x="2584" y="1766"/>
                  </a:cxn>
                  <a:cxn ang="0">
                    <a:pos x="2658" y="1815"/>
                  </a:cxn>
                  <a:cxn ang="0">
                    <a:pos x="2452" y="1995"/>
                  </a:cxn>
                  <a:cxn ang="0">
                    <a:pos x="2254" y="2235"/>
                  </a:cxn>
                  <a:cxn ang="0">
                    <a:pos x="2087" y="2378"/>
                  </a:cxn>
                  <a:cxn ang="0">
                    <a:pos x="1920" y="2488"/>
                  </a:cxn>
                  <a:cxn ang="0">
                    <a:pos x="1817" y="2693"/>
                  </a:cxn>
                  <a:cxn ang="0">
                    <a:pos x="1770" y="2871"/>
                  </a:cxn>
                  <a:cxn ang="0">
                    <a:pos x="1553" y="3077"/>
                  </a:cxn>
                  <a:cxn ang="0">
                    <a:pos x="1403" y="3102"/>
                  </a:cxn>
                  <a:cxn ang="0">
                    <a:pos x="1268" y="2957"/>
                  </a:cxn>
                  <a:cxn ang="0">
                    <a:pos x="1123" y="2573"/>
                  </a:cxn>
                  <a:cxn ang="0">
                    <a:pos x="955" y="2443"/>
                  </a:cxn>
                  <a:cxn ang="0">
                    <a:pos x="871" y="2220"/>
                  </a:cxn>
                  <a:cxn ang="0">
                    <a:pos x="896" y="2035"/>
                  </a:cxn>
                  <a:cxn ang="0">
                    <a:pos x="739" y="1945"/>
                  </a:cxn>
                  <a:cxn ang="0">
                    <a:pos x="727" y="1742"/>
                  </a:cxn>
                  <a:cxn ang="0">
                    <a:pos x="502" y="1651"/>
                  </a:cxn>
                  <a:cxn ang="0">
                    <a:pos x="360" y="1529"/>
                  </a:cxn>
                  <a:cxn ang="0">
                    <a:pos x="169" y="1454"/>
                  </a:cxn>
                  <a:cxn ang="0">
                    <a:pos x="0" y="1436"/>
                  </a:cxn>
                  <a:cxn ang="0">
                    <a:pos x="4" y="1069"/>
                  </a:cxn>
                </a:cxnLst>
                <a:rect l="0" t="0" r="r" b="b"/>
                <a:pathLst>
                  <a:path w="2673" h="3102">
                    <a:moveTo>
                      <a:pt x="4" y="1069"/>
                    </a:moveTo>
                    <a:lnTo>
                      <a:pt x="134" y="1156"/>
                    </a:lnTo>
                    <a:lnTo>
                      <a:pt x="275" y="1247"/>
                    </a:lnTo>
                    <a:lnTo>
                      <a:pt x="526" y="1137"/>
                    </a:lnTo>
                    <a:lnTo>
                      <a:pt x="734" y="1167"/>
                    </a:lnTo>
                    <a:lnTo>
                      <a:pt x="881" y="1197"/>
                    </a:lnTo>
                    <a:lnTo>
                      <a:pt x="1014" y="1217"/>
                    </a:lnTo>
                    <a:lnTo>
                      <a:pt x="1211" y="1032"/>
                    </a:lnTo>
                    <a:lnTo>
                      <a:pt x="1206" y="942"/>
                    </a:lnTo>
                    <a:lnTo>
                      <a:pt x="1324" y="679"/>
                    </a:lnTo>
                    <a:lnTo>
                      <a:pt x="1698" y="110"/>
                    </a:lnTo>
                    <a:lnTo>
                      <a:pt x="1753" y="0"/>
                    </a:lnTo>
                    <a:lnTo>
                      <a:pt x="1915" y="95"/>
                    </a:lnTo>
                    <a:lnTo>
                      <a:pt x="1959" y="259"/>
                    </a:lnTo>
                    <a:lnTo>
                      <a:pt x="2023" y="289"/>
                    </a:lnTo>
                    <a:lnTo>
                      <a:pt x="2033" y="614"/>
                    </a:lnTo>
                    <a:lnTo>
                      <a:pt x="2165" y="1007"/>
                    </a:lnTo>
                    <a:lnTo>
                      <a:pt x="2259" y="1247"/>
                    </a:lnTo>
                    <a:lnTo>
                      <a:pt x="2388" y="1436"/>
                    </a:lnTo>
                    <a:lnTo>
                      <a:pt x="2550" y="1441"/>
                    </a:lnTo>
                    <a:lnTo>
                      <a:pt x="2668" y="1531"/>
                    </a:lnTo>
                    <a:lnTo>
                      <a:pt x="2673" y="1676"/>
                    </a:lnTo>
                    <a:lnTo>
                      <a:pt x="2584" y="1766"/>
                    </a:lnTo>
                    <a:lnTo>
                      <a:pt x="2658" y="1815"/>
                    </a:lnTo>
                    <a:lnTo>
                      <a:pt x="2452" y="1995"/>
                    </a:lnTo>
                    <a:lnTo>
                      <a:pt x="2254" y="2235"/>
                    </a:lnTo>
                    <a:lnTo>
                      <a:pt x="2087" y="2378"/>
                    </a:lnTo>
                    <a:lnTo>
                      <a:pt x="1920" y="2488"/>
                    </a:lnTo>
                    <a:lnTo>
                      <a:pt x="1817" y="2693"/>
                    </a:lnTo>
                    <a:lnTo>
                      <a:pt x="1770" y="2871"/>
                    </a:lnTo>
                    <a:lnTo>
                      <a:pt x="1553" y="3077"/>
                    </a:lnTo>
                    <a:lnTo>
                      <a:pt x="1403" y="3102"/>
                    </a:lnTo>
                    <a:lnTo>
                      <a:pt x="1268" y="2957"/>
                    </a:lnTo>
                    <a:lnTo>
                      <a:pt x="1123" y="2573"/>
                    </a:lnTo>
                    <a:lnTo>
                      <a:pt x="955" y="2443"/>
                    </a:lnTo>
                    <a:lnTo>
                      <a:pt x="871" y="2220"/>
                    </a:lnTo>
                    <a:lnTo>
                      <a:pt x="896" y="2035"/>
                    </a:lnTo>
                    <a:lnTo>
                      <a:pt x="739" y="1945"/>
                    </a:lnTo>
                    <a:lnTo>
                      <a:pt x="727" y="1742"/>
                    </a:lnTo>
                    <a:lnTo>
                      <a:pt x="502" y="1651"/>
                    </a:lnTo>
                    <a:lnTo>
                      <a:pt x="360" y="1529"/>
                    </a:lnTo>
                    <a:lnTo>
                      <a:pt x="169" y="1454"/>
                    </a:lnTo>
                    <a:lnTo>
                      <a:pt x="0" y="1436"/>
                    </a:lnTo>
                    <a:lnTo>
                      <a:pt x="4" y="106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7" name="Freeform 29">
                <a:extLst>
                  <a:ext uri="{FF2B5EF4-FFF2-40B4-BE49-F238E27FC236}">
                    <a16:creationId xmlns:a16="http://schemas.microsoft.com/office/drawing/2014/main" id="{69C16214-A1AB-49D2-A750-A4230B6E7FA6}"/>
                  </a:ext>
                </a:extLst>
              </p:cNvPr>
              <p:cNvSpPr>
                <a:spLocks/>
              </p:cNvSpPr>
              <p:nvPr/>
            </p:nvSpPr>
            <p:spPr bwMode="auto">
              <a:xfrm>
                <a:off x="2072" y="1236"/>
                <a:ext cx="289" cy="148"/>
              </a:xfrm>
              <a:custGeom>
                <a:avLst/>
                <a:gdLst/>
                <a:ahLst/>
                <a:cxnLst>
                  <a:cxn ang="0">
                    <a:pos x="1931" y="105"/>
                  </a:cxn>
                  <a:cxn ang="0">
                    <a:pos x="1700" y="120"/>
                  </a:cxn>
                  <a:cxn ang="0">
                    <a:pos x="1271" y="135"/>
                  </a:cxn>
                  <a:cxn ang="0">
                    <a:pos x="1060" y="40"/>
                  </a:cxn>
                  <a:cxn ang="0">
                    <a:pos x="839" y="55"/>
                  </a:cxn>
                  <a:cxn ang="0">
                    <a:pos x="740" y="190"/>
                  </a:cxn>
                  <a:cxn ang="0">
                    <a:pos x="735" y="309"/>
                  </a:cxn>
                  <a:cxn ang="0">
                    <a:pos x="632" y="359"/>
                  </a:cxn>
                  <a:cxn ang="0">
                    <a:pos x="484" y="389"/>
                  </a:cxn>
                  <a:cxn ang="0">
                    <a:pos x="519" y="299"/>
                  </a:cxn>
                  <a:cxn ang="0">
                    <a:pos x="607" y="240"/>
                  </a:cxn>
                  <a:cxn ang="0">
                    <a:pos x="710" y="45"/>
                  </a:cxn>
                  <a:cxn ang="0">
                    <a:pos x="588" y="0"/>
                  </a:cxn>
                  <a:cxn ang="0">
                    <a:pos x="514" y="120"/>
                  </a:cxn>
                  <a:cxn ang="0">
                    <a:pos x="416" y="279"/>
                  </a:cxn>
                  <a:cxn ang="0">
                    <a:pos x="281" y="242"/>
                  </a:cxn>
                  <a:cxn ang="0">
                    <a:pos x="234" y="410"/>
                  </a:cxn>
                  <a:cxn ang="0">
                    <a:pos x="18" y="617"/>
                  </a:cxn>
                  <a:cxn ang="0">
                    <a:pos x="0" y="763"/>
                  </a:cxn>
                  <a:cxn ang="0">
                    <a:pos x="110" y="821"/>
                  </a:cxn>
                  <a:cxn ang="0">
                    <a:pos x="327" y="683"/>
                  </a:cxn>
                  <a:cxn ang="0">
                    <a:pos x="533" y="508"/>
                  </a:cxn>
                  <a:cxn ang="0">
                    <a:pos x="614" y="572"/>
                  </a:cxn>
                  <a:cxn ang="0">
                    <a:pos x="617" y="757"/>
                  </a:cxn>
                  <a:cxn ang="0">
                    <a:pos x="695" y="982"/>
                  </a:cxn>
                  <a:cxn ang="0">
                    <a:pos x="829" y="997"/>
                  </a:cxn>
                  <a:cxn ang="0">
                    <a:pos x="1060" y="927"/>
                  </a:cxn>
                  <a:cxn ang="0">
                    <a:pos x="1198" y="1002"/>
                  </a:cxn>
                  <a:cxn ang="0">
                    <a:pos x="1405" y="877"/>
                  </a:cxn>
                  <a:cxn ang="0">
                    <a:pos x="1670" y="807"/>
                  </a:cxn>
                  <a:cxn ang="0">
                    <a:pos x="1832" y="538"/>
                  </a:cxn>
                  <a:cxn ang="0">
                    <a:pos x="1916" y="444"/>
                  </a:cxn>
                  <a:cxn ang="0">
                    <a:pos x="1921" y="314"/>
                  </a:cxn>
                  <a:cxn ang="0">
                    <a:pos x="1931" y="105"/>
                  </a:cxn>
                </a:cxnLst>
                <a:rect l="0" t="0" r="r" b="b"/>
                <a:pathLst>
                  <a:path w="1931" h="1002">
                    <a:moveTo>
                      <a:pt x="1931" y="105"/>
                    </a:moveTo>
                    <a:lnTo>
                      <a:pt x="1700" y="120"/>
                    </a:lnTo>
                    <a:lnTo>
                      <a:pt x="1271" y="135"/>
                    </a:lnTo>
                    <a:lnTo>
                      <a:pt x="1060" y="40"/>
                    </a:lnTo>
                    <a:lnTo>
                      <a:pt x="839" y="55"/>
                    </a:lnTo>
                    <a:lnTo>
                      <a:pt x="740" y="190"/>
                    </a:lnTo>
                    <a:lnTo>
                      <a:pt x="735" y="309"/>
                    </a:lnTo>
                    <a:lnTo>
                      <a:pt x="632" y="359"/>
                    </a:lnTo>
                    <a:lnTo>
                      <a:pt x="484" y="389"/>
                    </a:lnTo>
                    <a:lnTo>
                      <a:pt x="519" y="299"/>
                    </a:lnTo>
                    <a:lnTo>
                      <a:pt x="607" y="240"/>
                    </a:lnTo>
                    <a:lnTo>
                      <a:pt x="710" y="45"/>
                    </a:lnTo>
                    <a:lnTo>
                      <a:pt x="588" y="0"/>
                    </a:lnTo>
                    <a:lnTo>
                      <a:pt x="514" y="120"/>
                    </a:lnTo>
                    <a:lnTo>
                      <a:pt x="416" y="279"/>
                    </a:lnTo>
                    <a:lnTo>
                      <a:pt x="281" y="242"/>
                    </a:lnTo>
                    <a:lnTo>
                      <a:pt x="234" y="410"/>
                    </a:lnTo>
                    <a:lnTo>
                      <a:pt x="18" y="617"/>
                    </a:lnTo>
                    <a:lnTo>
                      <a:pt x="0" y="763"/>
                    </a:lnTo>
                    <a:lnTo>
                      <a:pt x="110" y="821"/>
                    </a:lnTo>
                    <a:lnTo>
                      <a:pt x="327" y="683"/>
                    </a:lnTo>
                    <a:lnTo>
                      <a:pt x="533" y="508"/>
                    </a:lnTo>
                    <a:lnTo>
                      <a:pt x="614" y="572"/>
                    </a:lnTo>
                    <a:lnTo>
                      <a:pt x="617" y="757"/>
                    </a:lnTo>
                    <a:lnTo>
                      <a:pt x="695" y="982"/>
                    </a:lnTo>
                    <a:lnTo>
                      <a:pt x="829" y="997"/>
                    </a:lnTo>
                    <a:lnTo>
                      <a:pt x="1060" y="927"/>
                    </a:lnTo>
                    <a:lnTo>
                      <a:pt x="1198" y="1002"/>
                    </a:lnTo>
                    <a:lnTo>
                      <a:pt x="1405" y="877"/>
                    </a:lnTo>
                    <a:lnTo>
                      <a:pt x="1670" y="807"/>
                    </a:lnTo>
                    <a:lnTo>
                      <a:pt x="1832" y="538"/>
                    </a:lnTo>
                    <a:lnTo>
                      <a:pt x="1916" y="444"/>
                    </a:lnTo>
                    <a:lnTo>
                      <a:pt x="1921" y="314"/>
                    </a:lnTo>
                    <a:lnTo>
                      <a:pt x="1931" y="105"/>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8" name="Freeform 30">
                <a:extLst>
                  <a:ext uri="{FF2B5EF4-FFF2-40B4-BE49-F238E27FC236}">
                    <a16:creationId xmlns:a16="http://schemas.microsoft.com/office/drawing/2014/main" id="{287C6316-A7E1-47CB-B76A-386045D4343E}"/>
                  </a:ext>
                </a:extLst>
              </p:cNvPr>
              <p:cNvSpPr>
                <a:spLocks/>
              </p:cNvSpPr>
              <p:nvPr/>
            </p:nvSpPr>
            <p:spPr bwMode="auto">
              <a:xfrm>
                <a:off x="1532" y="2641"/>
                <a:ext cx="572" cy="558"/>
              </a:xfrm>
              <a:custGeom>
                <a:avLst/>
                <a:gdLst/>
                <a:ahLst/>
                <a:cxnLst>
                  <a:cxn ang="0">
                    <a:pos x="303" y="298"/>
                  </a:cxn>
                  <a:cxn ang="0">
                    <a:pos x="409" y="543"/>
                  </a:cxn>
                  <a:cxn ang="0">
                    <a:pos x="305" y="721"/>
                  </a:cxn>
                  <a:cxn ang="0">
                    <a:pos x="216" y="1078"/>
                  </a:cxn>
                  <a:cxn ang="0">
                    <a:pos x="0" y="1411"/>
                  </a:cxn>
                  <a:cxn ang="0">
                    <a:pos x="56" y="1748"/>
                  </a:cxn>
                  <a:cxn ang="0">
                    <a:pos x="171" y="1998"/>
                  </a:cxn>
                  <a:cxn ang="0">
                    <a:pos x="191" y="2218"/>
                  </a:cxn>
                  <a:cxn ang="0">
                    <a:pos x="119" y="2425"/>
                  </a:cxn>
                  <a:cxn ang="0">
                    <a:pos x="74" y="2678"/>
                  </a:cxn>
                  <a:cxn ang="0">
                    <a:pos x="261" y="2723"/>
                  </a:cxn>
                  <a:cxn ang="0">
                    <a:pos x="399" y="2698"/>
                  </a:cxn>
                  <a:cxn ang="0">
                    <a:pos x="709" y="2798"/>
                  </a:cxn>
                  <a:cxn ang="0">
                    <a:pos x="856" y="2698"/>
                  </a:cxn>
                  <a:cxn ang="0">
                    <a:pos x="955" y="2753"/>
                  </a:cxn>
                  <a:cxn ang="0">
                    <a:pos x="1181" y="2783"/>
                  </a:cxn>
                  <a:cxn ang="0">
                    <a:pos x="1283" y="3035"/>
                  </a:cxn>
                  <a:cxn ang="0">
                    <a:pos x="1255" y="3156"/>
                  </a:cxn>
                  <a:cxn ang="0">
                    <a:pos x="1310" y="3381"/>
                  </a:cxn>
                  <a:cxn ang="0">
                    <a:pos x="1338" y="3665"/>
                  </a:cxn>
                  <a:cxn ang="0">
                    <a:pos x="1412" y="3725"/>
                  </a:cxn>
                  <a:cxn ang="0">
                    <a:pos x="1625" y="3685"/>
                  </a:cxn>
                  <a:cxn ang="0">
                    <a:pos x="1801" y="3680"/>
                  </a:cxn>
                  <a:cxn ang="0">
                    <a:pos x="1905" y="3775"/>
                  </a:cxn>
                  <a:cxn ang="0">
                    <a:pos x="2067" y="3655"/>
                  </a:cxn>
                  <a:cxn ang="0">
                    <a:pos x="2126" y="3456"/>
                  </a:cxn>
                  <a:cxn ang="0">
                    <a:pos x="2224" y="3356"/>
                  </a:cxn>
                  <a:cxn ang="0">
                    <a:pos x="2347" y="3116"/>
                  </a:cxn>
                  <a:cxn ang="0">
                    <a:pos x="2688" y="2935"/>
                  </a:cxn>
                  <a:cxn ang="0">
                    <a:pos x="2968" y="2723"/>
                  </a:cxn>
                  <a:cxn ang="0">
                    <a:pos x="3199" y="2384"/>
                  </a:cxn>
                  <a:cxn ang="0">
                    <a:pos x="3469" y="1890"/>
                  </a:cxn>
                  <a:cxn ang="0">
                    <a:pos x="3780" y="1568"/>
                  </a:cxn>
                  <a:cxn ang="0">
                    <a:pos x="3750" y="1426"/>
                  </a:cxn>
                  <a:cxn ang="0">
                    <a:pos x="3819" y="1261"/>
                  </a:cxn>
                  <a:cxn ang="0">
                    <a:pos x="3325" y="1025"/>
                  </a:cxn>
                  <a:cxn ang="0">
                    <a:pos x="3130" y="858"/>
                  </a:cxn>
                  <a:cxn ang="0">
                    <a:pos x="2875" y="870"/>
                  </a:cxn>
                  <a:cxn ang="0">
                    <a:pos x="2818" y="793"/>
                  </a:cxn>
                  <a:cxn ang="0">
                    <a:pos x="2878" y="665"/>
                  </a:cxn>
                  <a:cxn ang="0">
                    <a:pos x="2778" y="610"/>
                  </a:cxn>
                  <a:cxn ang="0">
                    <a:pos x="2713" y="413"/>
                  </a:cxn>
                  <a:cxn ang="0">
                    <a:pos x="2551" y="465"/>
                  </a:cxn>
                  <a:cxn ang="0">
                    <a:pos x="2358" y="480"/>
                  </a:cxn>
                  <a:cxn ang="0">
                    <a:pos x="2283" y="375"/>
                  </a:cxn>
                  <a:cxn ang="0">
                    <a:pos x="2386" y="238"/>
                  </a:cxn>
                  <a:cxn ang="0">
                    <a:pos x="2422" y="129"/>
                  </a:cxn>
                  <a:cxn ang="0">
                    <a:pos x="2376" y="45"/>
                  </a:cxn>
                  <a:cxn ang="0">
                    <a:pos x="2243" y="194"/>
                  </a:cxn>
                  <a:cxn ang="0">
                    <a:pos x="2107" y="230"/>
                  </a:cxn>
                  <a:cxn ang="0">
                    <a:pos x="1977" y="170"/>
                  </a:cxn>
                  <a:cxn ang="0">
                    <a:pos x="1638" y="299"/>
                  </a:cxn>
                  <a:cxn ang="0">
                    <a:pos x="1430" y="119"/>
                  </a:cxn>
                  <a:cxn ang="0">
                    <a:pos x="1286" y="20"/>
                  </a:cxn>
                  <a:cxn ang="0">
                    <a:pos x="1087" y="0"/>
                  </a:cxn>
                  <a:cxn ang="0">
                    <a:pos x="933" y="75"/>
                  </a:cxn>
                  <a:cxn ang="0">
                    <a:pos x="782" y="80"/>
                  </a:cxn>
                  <a:cxn ang="0">
                    <a:pos x="620" y="299"/>
                  </a:cxn>
                  <a:cxn ang="0">
                    <a:pos x="442" y="349"/>
                  </a:cxn>
                  <a:cxn ang="0">
                    <a:pos x="303" y="298"/>
                  </a:cxn>
                </a:cxnLst>
                <a:rect l="0" t="0" r="r" b="b"/>
                <a:pathLst>
                  <a:path w="3819" h="3775">
                    <a:moveTo>
                      <a:pt x="303" y="298"/>
                    </a:moveTo>
                    <a:lnTo>
                      <a:pt x="409" y="543"/>
                    </a:lnTo>
                    <a:lnTo>
                      <a:pt x="305" y="721"/>
                    </a:lnTo>
                    <a:lnTo>
                      <a:pt x="216" y="1078"/>
                    </a:lnTo>
                    <a:lnTo>
                      <a:pt x="0" y="1411"/>
                    </a:lnTo>
                    <a:lnTo>
                      <a:pt x="56" y="1748"/>
                    </a:lnTo>
                    <a:lnTo>
                      <a:pt x="171" y="1998"/>
                    </a:lnTo>
                    <a:lnTo>
                      <a:pt x="191" y="2218"/>
                    </a:lnTo>
                    <a:lnTo>
                      <a:pt x="119" y="2425"/>
                    </a:lnTo>
                    <a:lnTo>
                      <a:pt x="74" y="2678"/>
                    </a:lnTo>
                    <a:lnTo>
                      <a:pt x="261" y="2723"/>
                    </a:lnTo>
                    <a:lnTo>
                      <a:pt x="399" y="2698"/>
                    </a:lnTo>
                    <a:lnTo>
                      <a:pt x="709" y="2798"/>
                    </a:lnTo>
                    <a:lnTo>
                      <a:pt x="856" y="2698"/>
                    </a:lnTo>
                    <a:lnTo>
                      <a:pt x="955" y="2753"/>
                    </a:lnTo>
                    <a:lnTo>
                      <a:pt x="1181" y="2783"/>
                    </a:lnTo>
                    <a:lnTo>
                      <a:pt x="1283" y="3035"/>
                    </a:lnTo>
                    <a:lnTo>
                      <a:pt x="1255" y="3156"/>
                    </a:lnTo>
                    <a:lnTo>
                      <a:pt x="1310" y="3381"/>
                    </a:lnTo>
                    <a:lnTo>
                      <a:pt x="1338" y="3665"/>
                    </a:lnTo>
                    <a:lnTo>
                      <a:pt x="1412" y="3725"/>
                    </a:lnTo>
                    <a:lnTo>
                      <a:pt x="1625" y="3685"/>
                    </a:lnTo>
                    <a:lnTo>
                      <a:pt x="1801" y="3680"/>
                    </a:lnTo>
                    <a:lnTo>
                      <a:pt x="1905" y="3775"/>
                    </a:lnTo>
                    <a:lnTo>
                      <a:pt x="2067" y="3655"/>
                    </a:lnTo>
                    <a:lnTo>
                      <a:pt x="2126" y="3456"/>
                    </a:lnTo>
                    <a:lnTo>
                      <a:pt x="2224" y="3356"/>
                    </a:lnTo>
                    <a:lnTo>
                      <a:pt x="2347" y="3116"/>
                    </a:lnTo>
                    <a:lnTo>
                      <a:pt x="2688" y="2935"/>
                    </a:lnTo>
                    <a:lnTo>
                      <a:pt x="2968" y="2723"/>
                    </a:lnTo>
                    <a:lnTo>
                      <a:pt x="3199" y="2384"/>
                    </a:lnTo>
                    <a:lnTo>
                      <a:pt x="3469" y="1890"/>
                    </a:lnTo>
                    <a:lnTo>
                      <a:pt x="3780" y="1568"/>
                    </a:lnTo>
                    <a:lnTo>
                      <a:pt x="3750" y="1426"/>
                    </a:lnTo>
                    <a:lnTo>
                      <a:pt x="3819" y="1261"/>
                    </a:lnTo>
                    <a:lnTo>
                      <a:pt x="3325" y="1025"/>
                    </a:lnTo>
                    <a:lnTo>
                      <a:pt x="3130" y="858"/>
                    </a:lnTo>
                    <a:lnTo>
                      <a:pt x="2875" y="870"/>
                    </a:lnTo>
                    <a:lnTo>
                      <a:pt x="2818" y="793"/>
                    </a:lnTo>
                    <a:lnTo>
                      <a:pt x="2878" y="665"/>
                    </a:lnTo>
                    <a:lnTo>
                      <a:pt x="2778" y="610"/>
                    </a:lnTo>
                    <a:lnTo>
                      <a:pt x="2713" y="413"/>
                    </a:lnTo>
                    <a:lnTo>
                      <a:pt x="2551" y="465"/>
                    </a:lnTo>
                    <a:lnTo>
                      <a:pt x="2358" y="480"/>
                    </a:lnTo>
                    <a:lnTo>
                      <a:pt x="2283" y="375"/>
                    </a:lnTo>
                    <a:lnTo>
                      <a:pt x="2386" y="238"/>
                    </a:lnTo>
                    <a:lnTo>
                      <a:pt x="2422" y="129"/>
                    </a:lnTo>
                    <a:lnTo>
                      <a:pt x="2376" y="45"/>
                    </a:lnTo>
                    <a:lnTo>
                      <a:pt x="2243" y="194"/>
                    </a:lnTo>
                    <a:lnTo>
                      <a:pt x="2107" y="230"/>
                    </a:lnTo>
                    <a:lnTo>
                      <a:pt x="1977" y="170"/>
                    </a:lnTo>
                    <a:lnTo>
                      <a:pt x="1638" y="299"/>
                    </a:lnTo>
                    <a:lnTo>
                      <a:pt x="1430" y="119"/>
                    </a:lnTo>
                    <a:lnTo>
                      <a:pt x="1286" y="20"/>
                    </a:lnTo>
                    <a:lnTo>
                      <a:pt x="1087" y="0"/>
                    </a:lnTo>
                    <a:lnTo>
                      <a:pt x="933" y="75"/>
                    </a:lnTo>
                    <a:lnTo>
                      <a:pt x="782" y="80"/>
                    </a:lnTo>
                    <a:lnTo>
                      <a:pt x="620" y="299"/>
                    </a:lnTo>
                    <a:lnTo>
                      <a:pt x="442" y="349"/>
                    </a:lnTo>
                    <a:lnTo>
                      <a:pt x="303" y="298"/>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9" name="Freeform 31">
                <a:extLst>
                  <a:ext uri="{FF2B5EF4-FFF2-40B4-BE49-F238E27FC236}">
                    <a16:creationId xmlns:a16="http://schemas.microsoft.com/office/drawing/2014/main" id="{E64A5B25-92DE-4B1B-88EE-CF77A422C59A}"/>
                  </a:ext>
                </a:extLst>
              </p:cNvPr>
              <p:cNvSpPr>
                <a:spLocks/>
              </p:cNvSpPr>
              <p:nvPr/>
            </p:nvSpPr>
            <p:spPr bwMode="auto">
              <a:xfrm>
                <a:off x="1935" y="2858"/>
                <a:ext cx="685" cy="447"/>
              </a:xfrm>
              <a:custGeom>
                <a:avLst/>
                <a:gdLst/>
                <a:ahLst/>
                <a:cxnLst>
                  <a:cxn ang="0">
                    <a:pos x="153" y="1225"/>
                  </a:cxn>
                  <a:cxn ang="0">
                    <a:pos x="614" y="1281"/>
                  </a:cxn>
                  <a:cxn ang="0">
                    <a:pos x="1201" y="1401"/>
                  </a:cxn>
                  <a:cxn ang="0">
                    <a:pos x="1311" y="1712"/>
                  </a:cxn>
                  <a:cxn ang="0">
                    <a:pos x="1451" y="2035"/>
                  </a:cxn>
                  <a:cxn ang="0">
                    <a:pos x="1495" y="2169"/>
                  </a:cxn>
                  <a:cxn ang="0">
                    <a:pos x="1667" y="2277"/>
                  </a:cxn>
                  <a:cxn ang="0">
                    <a:pos x="1781" y="2279"/>
                  </a:cxn>
                  <a:cxn ang="0">
                    <a:pos x="1878" y="2422"/>
                  </a:cxn>
                  <a:cxn ang="0">
                    <a:pos x="2327" y="2095"/>
                  </a:cxn>
                  <a:cxn ang="0">
                    <a:pos x="2807" y="1812"/>
                  </a:cxn>
                  <a:cxn ang="0">
                    <a:pos x="3056" y="1764"/>
                  </a:cxn>
                  <a:cxn ang="0">
                    <a:pos x="3256" y="1656"/>
                  </a:cxn>
                  <a:cxn ang="0">
                    <a:pos x="3390" y="1620"/>
                  </a:cxn>
                  <a:cxn ang="0">
                    <a:pos x="3374" y="1520"/>
                  </a:cxn>
                  <a:cxn ang="0">
                    <a:pos x="3599" y="1524"/>
                  </a:cxn>
                  <a:cxn ang="0">
                    <a:pos x="3603" y="1381"/>
                  </a:cxn>
                  <a:cxn ang="0">
                    <a:pos x="3426" y="1293"/>
                  </a:cxn>
                  <a:cxn ang="0">
                    <a:pos x="3115" y="1305"/>
                  </a:cxn>
                  <a:cxn ang="0">
                    <a:pos x="2895" y="1393"/>
                  </a:cxn>
                  <a:cxn ang="0">
                    <a:pos x="2671" y="1357"/>
                  </a:cxn>
                  <a:cxn ang="0">
                    <a:pos x="2585" y="1187"/>
                  </a:cxn>
                  <a:cxn ang="0">
                    <a:pos x="2701" y="806"/>
                  </a:cxn>
                  <a:cxn ang="0">
                    <a:pos x="2465" y="731"/>
                  </a:cxn>
                  <a:cxn ang="0">
                    <a:pos x="2483" y="409"/>
                  </a:cxn>
                  <a:cxn ang="0">
                    <a:pos x="2327" y="112"/>
                  </a:cxn>
                  <a:cxn ang="0">
                    <a:pos x="1973" y="156"/>
                  </a:cxn>
                  <a:cxn ang="0">
                    <a:pos x="1618" y="219"/>
                  </a:cxn>
                  <a:cxn ang="0">
                    <a:pos x="1272" y="52"/>
                  </a:cxn>
                  <a:cxn ang="0">
                    <a:pos x="874" y="84"/>
                  </a:cxn>
                  <a:cxn ang="0">
                    <a:pos x="407" y="740"/>
                  </a:cxn>
                  <a:cxn ang="0">
                    <a:pos x="0" y="1177"/>
                  </a:cxn>
                </a:cxnLst>
                <a:rect l="0" t="0" r="r" b="b"/>
                <a:pathLst>
                  <a:path w="3661" h="2422">
                    <a:moveTo>
                      <a:pt x="0" y="1177"/>
                    </a:moveTo>
                    <a:lnTo>
                      <a:pt x="153" y="1225"/>
                    </a:lnTo>
                    <a:lnTo>
                      <a:pt x="343" y="1185"/>
                    </a:lnTo>
                    <a:lnTo>
                      <a:pt x="614" y="1281"/>
                    </a:lnTo>
                    <a:lnTo>
                      <a:pt x="803" y="1389"/>
                    </a:lnTo>
                    <a:lnTo>
                      <a:pt x="1201" y="1401"/>
                    </a:lnTo>
                    <a:lnTo>
                      <a:pt x="1333" y="1577"/>
                    </a:lnTo>
                    <a:lnTo>
                      <a:pt x="1311" y="1712"/>
                    </a:lnTo>
                    <a:lnTo>
                      <a:pt x="1390" y="1895"/>
                    </a:lnTo>
                    <a:lnTo>
                      <a:pt x="1451" y="2035"/>
                    </a:lnTo>
                    <a:lnTo>
                      <a:pt x="1407" y="2119"/>
                    </a:lnTo>
                    <a:lnTo>
                      <a:pt x="1495" y="2169"/>
                    </a:lnTo>
                    <a:lnTo>
                      <a:pt x="1731" y="2191"/>
                    </a:lnTo>
                    <a:lnTo>
                      <a:pt x="1667" y="2277"/>
                    </a:lnTo>
                    <a:lnTo>
                      <a:pt x="1691" y="2333"/>
                    </a:lnTo>
                    <a:lnTo>
                      <a:pt x="1781" y="2279"/>
                    </a:lnTo>
                    <a:lnTo>
                      <a:pt x="1839" y="2395"/>
                    </a:lnTo>
                    <a:lnTo>
                      <a:pt x="1878" y="2422"/>
                    </a:lnTo>
                    <a:lnTo>
                      <a:pt x="2099" y="2215"/>
                    </a:lnTo>
                    <a:lnTo>
                      <a:pt x="2327" y="2095"/>
                    </a:lnTo>
                    <a:lnTo>
                      <a:pt x="2465" y="1967"/>
                    </a:lnTo>
                    <a:lnTo>
                      <a:pt x="2807" y="1812"/>
                    </a:lnTo>
                    <a:lnTo>
                      <a:pt x="3000" y="1835"/>
                    </a:lnTo>
                    <a:lnTo>
                      <a:pt x="3056" y="1764"/>
                    </a:lnTo>
                    <a:lnTo>
                      <a:pt x="3174" y="1704"/>
                    </a:lnTo>
                    <a:lnTo>
                      <a:pt x="3256" y="1656"/>
                    </a:lnTo>
                    <a:lnTo>
                      <a:pt x="3367" y="1664"/>
                    </a:lnTo>
                    <a:lnTo>
                      <a:pt x="3390" y="1620"/>
                    </a:lnTo>
                    <a:lnTo>
                      <a:pt x="3339" y="1580"/>
                    </a:lnTo>
                    <a:lnTo>
                      <a:pt x="3374" y="1520"/>
                    </a:lnTo>
                    <a:lnTo>
                      <a:pt x="3493" y="1464"/>
                    </a:lnTo>
                    <a:lnTo>
                      <a:pt x="3599" y="1524"/>
                    </a:lnTo>
                    <a:lnTo>
                      <a:pt x="3661" y="1485"/>
                    </a:lnTo>
                    <a:lnTo>
                      <a:pt x="3603" y="1381"/>
                    </a:lnTo>
                    <a:lnTo>
                      <a:pt x="3516" y="1317"/>
                    </a:lnTo>
                    <a:lnTo>
                      <a:pt x="3426" y="1293"/>
                    </a:lnTo>
                    <a:lnTo>
                      <a:pt x="3343" y="1213"/>
                    </a:lnTo>
                    <a:lnTo>
                      <a:pt x="3115" y="1305"/>
                    </a:lnTo>
                    <a:lnTo>
                      <a:pt x="2961" y="1283"/>
                    </a:lnTo>
                    <a:lnTo>
                      <a:pt x="2895" y="1393"/>
                    </a:lnTo>
                    <a:lnTo>
                      <a:pt x="2773" y="1423"/>
                    </a:lnTo>
                    <a:lnTo>
                      <a:pt x="2671" y="1357"/>
                    </a:lnTo>
                    <a:lnTo>
                      <a:pt x="2681" y="1269"/>
                    </a:lnTo>
                    <a:lnTo>
                      <a:pt x="2585" y="1187"/>
                    </a:lnTo>
                    <a:lnTo>
                      <a:pt x="2622" y="902"/>
                    </a:lnTo>
                    <a:lnTo>
                      <a:pt x="2701" y="806"/>
                    </a:lnTo>
                    <a:lnTo>
                      <a:pt x="2642" y="742"/>
                    </a:lnTo>
                    <a:lnTo>
                      <a:pt x="2465" y="731"/>
                    </a:lnTo>
                    <a:lnTo>
                      <a:pt x="2406" y="515"/>
                    </a:lnTo>
                    <a:lnTo>
                      <a:pt x="2483" y="409"/>
                    </a:lnTo>
                    <a:lnTo>
                      <a:pt x="2406" y="203"/>
                    </a:lnTo>
                    <a:lnTo>
                      <a:pt x="2327" y="112"/>
                    </a:lnTo>
                    <a:lnTo>
                      <a:pt x="2181" y="132"/>
                    </a:lnTo>
                    <a:lnTo>
                      <a:pt x="1973" y="156"/>
                    </a:lnTo>
                    <a:lnTo>
                      <a:pt x="1784" y="156"/>
                    </a:lnTo>
                    <a:lnTo>
                      <a:pt x="1618" y="219"/>
                    </a:lnTo>
                    <a:lnTo>
                      <a:pt x="1508" y="60"/>
                    </a:lnTo>
                    <a:lnTo>
                      <a:pt x="1272" y="52"/>
                    </a:lnTo>
                    <a:lnTo>
                      <a:pt x="1051" y="0"/>
                    </a:lnTo>
                    <a:lnTo>
                      <a:pt x="874" y="84"/>
                    </a:lnTo>
                    <a:lnTo>
                      <a:pt x="622" y="344"/>
                    </a:lnTo>
                    <a:lnTo>
                      <a:pt x="407" y="740"/>
                    </a:lnTo>
                    <a:lnTo>
                      <a:pt x="223" y="1007"/>
                    </a:lnTo>
                    <a:lnTo>
                      <a:pt x="0" y="1177"/>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0" name="Freeform 32">
                <a:extLst>
                  <a:ext uri="{FF2B5EF4-FFF2-40B4-BE49-F238E27FC236}">
                    <a16:creationId xmlns:a16="http://schemas.microsoft.com/office/drawing/2014/main" id="{6E652E34-EE64-47CF-A5FA-505F2D3383C8}"/>
                  </a:ext>
                </a:extLst>
              </p:cNvPr>
              <p:cNvSpPr>
                <a:spLocks/>
              </p:cNvSpPr>
              <p:nvPr/>
            </p:nvSpPr>
            <p:spPr bwMode="auto">
              <a:xfrm>
                <a:off x="1787" y="3075"/>
                <a:ext cx="492" cy="343"/>
              </a:xfrm>
              <a:custGeom>
                <a:avLst/>
                <a:gdLst/>
                <a:ahLst/>
                <a:cxnLst>
                  <a:cxn ang="0">
                    <a:pos x="203" y="839"/>
                  </a:cxn>
                  <a:cxn ang="0">
                    <a:pos x="173" y="954"/>
                  </a:cxn>
                  <a:cxn ang="0">
                    <a:pos x="290" y="1004"/>
                  </a:cxn>
                  <a:cxn ang="0">
                    <a:pos x="246" y="1119"/>
                  </a:cxn>
                  <a:cxn ang="0">
                    <a:pos x="266" y="1244"/>
                  </a:cxn>
                  <a:cxn ang="0">
                    <a:pos x="206" y="1359"/>
                  </a:cxn>
                  <a:cxn ang="0">
                    <a:pos x="241" y="1448"/>
                  </a:cxn>
                  <a:cxn ang="0">
                    <a:pos x="94" y="1542"/>
                  </a:cxn>
                  <a:cxn ang="0">
                    <a:pos x="0" y="1587"/>
                  </a:cxn>
                  <a:cxn ang="0">
                    <a:pos x="0" y="1707"/>
                  </a:cxn>
                  <a:cxn ang="0">
                    <a:pos x="94" y="1722"/>
                  </a:cxn>
                  <a:cxn ang="0">
                    <a:pos x="236" y="1632"/>
                  </a:cxn>
                  <a:cxn ang="0">
                    <a:pos x="384" y="1717"/>
                  </a:cxn>
                  <a:cxn ang="0">
                    <a:pos x="399" y="1897"/>
                  </a:cxn>
                  <a:cxn ang="0">
                    <a:pos x="455" y="2045"/>
                  </a:cxn>
                  <a:cxn ang="0">
                    <a:pos x="718" y="2058"/>
                  </a:cxn>
                  <a:cxn ang="0">
                    <a:pos x="1170" y="2150"/>
                  </a:cxn>
                  <a:cxn ang="0">
                    <a:pos x="1590" y="2320"/>
                  </a:cxn>
                  <a:cxn ang="0">
                    <a:pos x="1703" y="2255"/>
                  </a:cxn>
                  <a:cxn ang="0">
                    <a:pos x="1693" y="2180"/>
                  </a:cxn>
                  <a:cxn ang="0">
                    <a:pos x="1728" y="2080"/>
                  </a:cxn>
                  <a:cxn ang="0">
                    <a:pos x="1885" y="2060"/>
                  </a:cxn>
                  <a:cxn ang="0">
                    <a:pos x="2038" y="1977"/>
                  </a:cxn>
                  <a:cxn ang="0">
                    <a:pos x="2254" y="1957"/>
                  </a:cxn>
                  <a:cxn ang="0">
                    <a:pos x="2452" y="2045"/>
                  </a:cxn>
                  <a:cxn ang="0">
                    <a:pos x="2622" y="2043"/>
                  </a:cxn>
                  <a:cxn ang="0">
                    <a:pos x="2737" y="1956"/>
                  </a:cxn>
                  <a:cxn ang="0">
                    <a:pos x="2919" y="1942"/>
                  </a:cxn>
                  <a:cxn ang="0">
                    <a:pos x="2994" y="2017"/>
                  </a:cxn>
                  <a:cxn ang="0">
                    <a:pos x="3140" y="1767"/>
                  </a:cxn>
                  <a:cxn ang="0">
                    <a:pos x="3037" y="1722"/>
                  </a:cxn>
                  <a:cxn ang="0">
                    <a:pos x="3013" y="1642"/>
                  </a:cxn>
                  <a:cxn ang="0">
                    <a:pos x="3140" y="1642"/>
                  </a:cxn>
                  <a:cxn ang="0">
                    <a:pos x="3184" y="1572"/>
                  </a:cxn>
                  <a:cxn ang="0">
                    <a:pos x="3288" y="1524"/>
                  </a:cxn>
                  <a:cxn ang="0">
                    <a:pos x="3216" y="1380"/>
                  </a:cxn>
                  <a:cxn ang="0">
                    <a:pos x="3105" y="1446"/>
                  </a:cxn>
                  <a:cxn ang="0">
                    <a:pos x="3072" y="1379"/>
                  </a:cxn>
                  <a:cxn ang="0">
                    <a:pos x="3155" y="1269"/>
                  </a:cxn>
                  <a:cxn ang="0">
                    <a:pos x="2862" y="1243"/>
                  </a:cxn>
                  <a:cxn ang="0">
                    <a:pos x="2747" y="1179"/>
                  </a:cxn>
                  <a:cxn ang="0">
                    <a:pos x="2805" y="1074"/>
                  </a:cxn>
                  <a:cxn ang="0">
                    <a:pos x="2628" y="671"/>
                  </a:cxn>
                  <a:cxn ang="0">
                    <a:pos x="2658" y="506"/>
                  </a:cxn>
                  <a:cxn ang="0">
                    <a:pos x="2490" y="282"/>
                  </a:cxn>
                  <a:cxn ang="0">
                    <a:pos x="1989" y="267"/>
                  </a:cxn>
                  <a:cxn ang="0">
                    <a:pos x="1753" y="132"/>
                  </a:cxn>
                  <a:cxn ang="0">
                    <a:pos x="1418" y="12"/>
                  </a:cxn>
                  <a:cxn ang="0">
                    <a:pos x="1176" y="62"/>
                  </a:cxn>
                  <a:cxn ang="0">
                    <a:pos x="988" y="0"/>
                  </a:cxn>
                  <a:cxn ang="0">
                    <a:pos x="650" y="182"/>
                  </a:cxn>
                  <a:cxn ang="0">
                    <a:pos x="533" y="412"/>
                  </a:cxn>
                  <a:cxn ang="0">
                    <a:pos x="424" y="527"/>
                  </a:cxn>
                  <a:cxn ang="0">
                    <a:pos x="369" y="718"/>
                  </a:cxn>
                  <a:cxn ang="0">
                    <a:pos x="203" y="839"/>
                  </a:cxn>
                </a:cxnLst>
                <a:rect l="0" t="0" r="r" b="b"/>
                <a:pathLst>
                  <a:path w="3288" h="2320">
                    <a:moveTo>
                      <a:pt x="203" y="839"/>
                    </a:moveTo>
                    <a:lnTo>
                      <a:pt x="173" y="954"/>
                    </a:lnTo>
                    <a:lnTo>
                      <a:pt x="290" y="1004"/>
                    </a:lnTo>
                    <a:lnTo>
                      <a:pt x="246" y="1119"/>
                    </a:lnTo>
                    <a:lnTo>
                      <a:pt x="266" y="1244"/>
                    </a:lnTo>
                    <a:lnTo>
                      <a:pt x="206" y="1359"/>
                    </a:lnTo>
                    <a:lnTo>
                      <a:pt x="241" y="1448"/>
                    </a:lnTo>
                    <a:lnTo>
                      <a:pt x="94" y="1542"/>
                    </a:lnTo>
                    <a:lnTo>
                      <a:pt x="0" y="1587"/>
                    </a:lnTo>
                    <a:lnTo>
                      <a:pt x="0" y="1707"/>
                    </a:lnTo>
                    <a:lnTo>
                      <a:pt x="94" y="1722"/>
                    </a:lnTo>
                    <a:lnTo>
                      <a:pt x="236" y="1632"/>
                    </a:lnTo>
                    <a:lnTo>
                      <a:pt x="384" y="1717"/>
                    </a:lnTo>
                    <a:lnTo>
                      <a:pt x="399" y="1897"/>
                    </a:lnTo>
                    <a:lnTo>
                      <a:pt x="455" y="2045"/>
                    </a:lnTo>
                    <a:lnTo>
                      <a:pt x="718" y="2058"/>
                    </a:lnTo>
                    <a:lnTo>
                      <a:pt x="1170" y="2150"/>
                    </a:lnTo>
                    <a:lnTo>
                      <a:pt x="1590" y="2320"/>
                    </a:lnTo>
                    <a:lnTo>
                      <a:pt x="1703" y="2255"/>
                    </a:lnTo>
                    <a:lnTo>
                      <a:pt x="1693" y="2180"/>
                    </a:lnTo>
                    <a:lnTo>
                      <a:pt x="1728" y="2080"/>
                    </a:lnTo>
                    <a:lnTo>
                      <a:pt x="1885" y="2060"/>
                    </a:lnTo>
                    <a:lnTo>
                      <a:pt x="2038" y="1977"/>
                    </a:lnTo>
                    <a:lnTo>
                      <a:pt x="2254" y="1957"/>
                    </a:lnTo>
                    <a:lnTo>
                      <a:pt x="2452" y="2045"/>
                    </a:lnTo>
                    <a:lnTo>
                      <a:pt x="2622" y="2043"/>
                    </a:lnTo>
                    <a:lnTo>
                      <a:pt x="2737" y="1956"/>
                    </a:lnTo>
                    <a:lnTo>
                      <a:pt x="2919" y="1942"/>
                    </a:lnTo>
                    <a:lnTo>
                      <a:pt x="2994" y="2017"/>
                    </a:lnTo>
                    <a:lnTo>
                      <a:pt x="3140" y="1767"/>
                    </a:lnTo>
                    <a:lnTo>
                      <a:pt x="3037" y="1722"/>
                    </a:lnTo>
                    <a:lnTo>
                      <a:pt x="3013" y="1642"/>
                    </a:lnTo>
                    <a:lnTo>
                      <a:pt x="3140" y="1642"/>
                    </a:lnTo>
                    <a:lnTo>
                      <a:pt x="3184" y="1572"/>
                    </a:lnTo>
                    <a:lnTo>
                      <a:pt x="3288" y="1524"/>
                    </a:lnTo>
                    <a:lnTo>
                      <a:pt x="3216" y="1380"/>
                    </a:lnTo>
                    <a:lnTo>
                      <a:pt x="3105" y="1446"/>
                    </a:lnTo>
                    <a:lnTo>
                      <a:pt x="3072" y="1379"/>
                    </a:lnTo>
                    <a:lnTo>
                      <a:pt x="3155" y="1269"/>
                    </a:lnTo>
                    <a:lnTo>
                      <a:pt x="2862" y="1243"/>
                    </a:lnTo>
                    <a:lnTo>
                      <a:pt x="2747" y="1179"/>
                    </a:lnTo>
                    <a:lnTo>
                      <a:pt x="2805" y="1074"/>
                    </a:lnTo>
                    <a:lnTo>
                      <a:pt x="2628" y="671"/>
                    </a:lnTo>
                    <a:lnTo>
                      <a:pt x="2658" y="506"/>
                    </a:lnTo>
                    <a:lnTo>
                      <a:pt x="2490" y="282"/>
                    </a:lnTo>
                    <a:lnTo>
                      <a:pt x="1989" y="267"/>
                    </a:lnTo>
                    <a:lnTo>
                      <a:pt x="1753" y="132"/>
                    </a:lnTo>
                    <a:lnTo>
                      <a:pt x="1418" y="12"/>
                    </a:lnTo>
                    <a:lnTo>
                      <a:pt x="1176" y="62"/>
                    </a:lnTo>
                    <a:lnTo>
                      <a:pt x="988" y="0"/>
                    </a:lnTo>
                    <a:lnTo>
                      <a:pt x="650" y="182"/>
                    </a:lnTo>
                    <a:lnTo>
                      <a:pt x="533" y="412"/>
                    </a:lnTo>
                    <a:lnTo>
                      <a:pt x="424" y="527"/>
                    </a:lnTo>
                    <a:lnTo>
                      <a:pt x="369" y="718"/>
                    </a:lnTo>
                    <a:lnTo>
                      <a:pt x="203" y="839"/>
                    </a:lnTo>
                    <a:close/>
                  </a:path>
                </a:pathLst>
              </a:custGeom>
              <a:solidFill>
                <a:srgbClr val="00BCFF"/>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1" name="Freeform 33">
                <a:extLst>
                  <a:ext uri="{FF2B5EF4-FFF2-40B4-BE49-F238E27FC236}">
                    <a16:creationId xmlns:a16="http://schemas.microsoft.com/office/drawing/2014/main" id="{7FD895DD-8EF3-472F-81AA-9E973CA38E5B}"/>
                  </a:ext>
                </a:extLst>
              </p:cNvPr>
              <p:cNvSpPr>
                <a:spLocks/>
              </p:cNvSpPr>
              <p:nvPr/>
            </p:nvSpPr>
            <p:spPr bwMode="auto">
              <a:xfrm>
                <a:off x="1846" y="3362"/>
                <a:ext cx="393" cy="267"/>
              </a:xfrm>
              <a:custGeom>
                <a:avLst/>
                <a:gdLst/>
                <a:ahLst/>
                <a:cxnLst>
                  <a:cxn ang="0">
                    <a:pos x="59" y="103"/>
                  </a:cxn>
                  <a:cxn ang="0">
                    <a:pos x="15" y="298"/>
                  </a:cxn>
                  <a:cxn ang="0">
                    <a:pos x="0" y="552"/>
                  </a:cxn>
                  <a:cxn ang="0">
                    <a:pos x="788" y="662"/>
                  </a:cxn>
                  <a:cxn ang="0">
                    <a:pos x="945" y="767"/>
                  </a:cxn>
                  <a:cxn ang="0">
                    <a:pos x="1209" y="878"/>
                  </a:cxn>
                  <a:cxn ang="0">
                    <a:pos x="1414" y="1063"/>
                  </a:cxn>
                  <a:cxn ang="0">
                    <a:pos x="1507" y="1263"/>
                  </a:cxn>
                  <a:cxn ang="0">
                    <a:pos x="1777" y="1376"/>
                  </a:cxn>
                  <a:cxn ang="0">
                    <a:pos x="1922" y="1361"/>
                  </a:cxn>
                  <a:cxn ang="0">
                    <a:pos x="1819" y="1554"/>
                  </a:cxn>
                  <a:cxn ang="0">
                    <a:pos x="1820" y="1720"/>
                  </a:cxn>
                  <a:cxn ang="0">
                    <a:pos x="1909" y="1810"/>
                  </a:cxn>
                  <a:cxn ang="0">
                    <a:pos x="2219" y="1540"/>
                  </a:cxn>
                  <a:cxn ang="0">
                    <a:pos x="2435" y="1456"/>
                  </a:cxn>
                  <a:cxn ang="0">
                    <a:pos x="2377" y="1346"/>
                  </a:cxn>
                  <a:cxn ang="0">
                    <a:pos x="2480" y="1241"/>
                  </a:cxn>
                  <a:cxn ang="0">
                    <a:pos x="2618" y="887"/>
                  </a:cxn>
                  <a:cxn ang="0">
                    <a:pos x="2569" y="732"/>
                  </a:cxn>
                  <a:cxn ang="0">
                    <a:pos x="2584" y="522"/>
                  </a:cxn>
                  <a:cxn ang="0">
                    <a:pos x="2628" y="243"/>
                  </a:cxn>
                  <a:cxn ang="0">
                    <a:pos x="2599" y="75"/>
                  </a:cxn>
                  <a:cxn ang="0">
                    <a:pos x="2527" y="0"/>
                  </a:cxn>
                  <a:cxn ang="0">
                    <a:pos x="2342" y="15"/>
                  </a:cxn>
                  <a:cxn ang="0">
                    <a:pos x="2229" y="100"/>
                  </a:cxn>
                  <a:cxn ang="0">
                    <a:pos x="2052" y="103"/>
                  </a:cxn>
                  <a:cxn ang="0">
                    <a:pos x="1862" y="15"/>
                  </a:cxn>
                  <a:cxn ang="0">
                    <a:pos x="1643" y="36"/>
                  </a:cxn>
                  <a:cxn ang="0">
                    <a:pos x="1489" y="118"/>
                  </a:cxn>
                  <a:cxn ang="0">
                    <a:pos x="1334" y="138"/>
                  </a:cxn>
                  <a:cxn ang="0">
                    <a:pos x="1301" y="238"/>
                  </a:cxn>
                  <a:cxn ang="0">
                    <a:pos x="1306" y="315"/>
                  </a:cxn>
                  <a:cxn ang="0">
                    <a:pos x="1196" y="377"/>
                  </a:cxn>
                  <a:cxn ang="0">
                    <a:pos x="788" y="213"/>
                  </a:cxn>
                  <a:cxn ang="0">
                    <a:pos x="330" y="118"/>
                  </a:cxn>
                  <a:cxn ang="0">
                    <a:pos x="59" y="103"/>
                  </a:cxn>
                </a:cxnLst>
                <a:rect l="0" t="0" r="r" b="b"/>
                <a:pathLst>
                  <a:path w="2628" h="1810">
                    <a:moveTo>
                      <a:pt x="59" y="103"/>
                    </a:moveTo>
                    <a:lnTo>
                      <a:pt x="15" y="298"/>
                    </a:lnTo>
                    <a:lnTo>
                      <a:pt x="0" y="552"/>
                    </a:lnTo>
                    <a:lnTo>
                      <a:pt x="788" y="662"/>
                    </a:lnTo>
                    <a:lnTo>
                      <a:pt x="945" y="767"/>
                    </a:lnTo>
                    <a:lnTo>
                      <a:pt x="1209" y="878"/>
                    </a:lnTo>
                    <a:lnTo>
                      <a:pt x="1414" y="1063"/>
                    </a:lnTo>
                    <a:lnTo>
                      <a:pt x="1507" y="1263"/>
                    </a:lnTo>
                    <a:lnTo>
                      <a:pt x="1777" y="1376"/>
                    </a:lnTo>
                    <a:lnTo>
                      <a:pt x="1922" y="1361"/>
                    </a:lnTo>
                    <a:lnTo>
                      <a:pt x="1819" y="1554"/>
                    </a:lnTo>
                    <a:lnTo>
                      <a:pt x="1820" y="1720"/>
                    </a:lnTo>
                    <a:lnTo>
                      <a:pt x="1909" y="1810"/>
                    </a:lnTo>
                    <a:lnTo>
                      <a:pt x="2219" y="1540"/>
                    </a:lnTo>
                    <a:lnTo>
                      <a:pt x="2435" y="1456"/>
                    </a:lnTo>
                    <a:lnTo>
                      <a:pt x="2377" y="1346"/>
                    </a:lnTo>
                    <a:lnTo>
                      <a:pt x="2480" y="1241"/>
                    </a:lnTo>
                    <a:lnTo>
                      <a:pt x="2618" y="887"/>
                    </a:lnTo>
                    <a:lnTo>
                      <a:pt x="2569" y="732"/>
                    </a:lnTo>
                    <a:lnTo>
                      <a:pt x="2584" y="522"/>
                    </a:lnTo>
                    <a:lnTo>
                      <a:pt x="2628" y="243"/>
                    </a:lnTo>
                    <a:lnTo>
                      <a:pt x="2599" y="75"/>
                    </a:lnTo>
                    <a:lnTo>
                      <a:pt x="2527" y="0"/>
                    </a:lnTo>
                    <a:lnTo>
                      <a:pt x="2342" y="15"/>
                    </a:lnTo>
                    <a:lnTo>
                      <a:pt x="2229" y="100"/>
                    </a:lnTo>
                    <a:lnTo>
                      <a:pt x="2052" y="103"/>
                    </a:lnTo>
                    <a:lnTo>
                      <a:pt x="1862" y="15"/>
                    </a:lnTo>
                    <a:lnTo>
                      <a:pt x="1643" y="36"/>
                    </a:lnTo>
                    <a:lnTo>
                      <a:pt x="1489" y="118"/>
                    </a:lnTo>
                    <a:lnTo>
                      <a:pt x="1334" y="138"/>
                    </a:lnTo>
                    <a:lnTo>
                      <a:pt x="1301" y="238"/>
                    </a:lnTo>
                    <a:lnTo>
                      <a:pt x="1306" y="315"/>
                    </a:lnTo>
                    <a:lnTo>
                      <a:pt x="1196" y="377"/>
                    </a:lnTo>
                    <a:lnTo>
                      <a:pt x="788" y="213"/>
                    </a:lnTo>
                    <a:lnTo>
                      <a:pt x="330" y="118"/>
                    </a:lnTo>
                    <a:lnTo>
                      <a:pt x="59" y="103"/>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2" name="Freeform 34">
                <a:extLst>
                  <a:ext uri="{FF2B5EF4-FFF2-40B4-BE49-F238E27FC236}">
                    <a16:creationId xmlns:a16="http://schemas.microsoft.com/office/drawing/2014/main" id="{FCEAC2A1-B94D-4334-A4E1-7A85A3BD5CE6}"/>
                  </a:ext>
                </a:extLst>
              </p:cNvPr>
              <p:cNvSpPr>
                <a:spLocks/>
              </p:cNvSpPr>
              <p:nvPr/>
            </p:nvSpPr>
            <p:spPr bwMode="auto">
              <a:xfrm>
                <a:off x="1542" y="3444"/>
                <a:ext cx="592" cy="532"/>
              </a:xfrm>
              <a:custGeom>
                <a:avLst/>
                <a:gdLst/>
                <a:ahLst/>
                <a:cxnLst>
                  <a:cxn ang="0">
                    <a:pos x="0" y="1342"/>
                  </a:cxn>
                  <a:cxn ang="0">
                    <a:pos x="134" y="1185"/>
                  </a:cxn>
                  <a:cxn ang="0">
                    <a:pos x="317" y="1008"/>
                  </a:cxn>
                  <a:cxn ang="0">
                    <a:pos x="515" y="765"/>
                  </a:cxn>
                  <a:cxn ang="0">
                    <a:pos x="759" y="552"/>
                  </a:cxn>
                  <a:cxn ang="0">
                    <a:pos x="971" y="366"/>
                  </a:cxn>
                  <a:cxn ang="0">
                    <a:pos x="1270" y="155"/>
                  </a:cxn>
                  <a:cxn ang="0">
                    <a:pos x="1626" y="0"/>
                  </a:cxn>
                  <a:cxn ang="0">
                    <a:pos x="2252" y="86"/>
                  </a:cxn>
                  <a:cxn ang="0">
                    <a:pos x="2380" y="171"/>
                  </a:cxn>
                  <a:cxn ang="0">
                    <a:pos x="2593" y="262"/>
                  </a:cxn>
                  <a:cxn ang="0">
                    <a:pos x="2758" y="410"/>
                  </a:cxn>
                  <a:cxn ang="0">
                    <a:pos x="2829" y="566"/>
                  </a:cxn>
                  <a:cxn ang="0">
                    <a:pos x="3046" y="657"/>
                  </a:cxn>
                  <a:cxn ang="0">
                    <a:pos x="3164" y="645"/>
                  </a:cxn>
                  <a:cxn ang="0">
                    <a:pos x="3081" y="801"/>
                  </a:cxn>
                  <a:cxn ang="0">
                    <a:pos x="3081" y="933"/>
                  </a:cxn>
                  <a:cxn ang="0">
                    <a:pos x="3152" y="1005"/>
                  </a:cxn>
                  <a:cxn ang="0">
                    <a:pos x="3010" y="1232"/>
                  </a:cxn>
                  <a:cxn ang="0">
                    <a:pos x="2751" y="1703"/>
                  </a:cxn>
                  <a:cxn ang="0">
                    <a:pos x="2558" y="1894"/>
                  </a:cxn>
                  <a:cxn ang="0">
                    <a:pos x="2231" y="2122"/>
                  </a:cxn>
                  <a:cxn ang="0">
                    <a:pos x="2207" y="2106"/>
                  </a:cxn>
                  <a:cxn ang="0">
                    <a:pos x="2349" y="2010"/>
                  </a:cxn>
                  <a:cxn ang="0">
                    <a:pos x="2479" y="1890"/>
                  </a:cxn>
                  <a:cxn ang="0">
                    <a:pos x="2502" y="1775"/>
                  </a:cxn>
                  <a:cxn ang="0">
                    <a:pos x="2593" y="1751"/>
                  </a:cxn>
                  <a:cxn ang="0">
                    <a:pos x="2688" y="1631"/>
                  </a:cxn>
                  <a:cxn ang="0">
                    <a:pos x="2735" y="1559"/>
                  </a:cxn>
                  <a:cxn ang="0">
                    <a:pos x="2762" y="1451"/>
                  </a:cxn>
                  <a:cxn ang="0">
                    <a:pos x="2739" y="1376"/>
                  </a:cxn>
                  <a:cxn ang="0">
                    <a:pos x="2640" y="1436"/>
                  </a:cxn>
                  <a:cxn ang="0">
                    <a:pos x="2526" y="1459"/>
                  </a:cxn>
                  <a:cxn ang="0">
                    <a:pos x="2439" y="1627"/>
                  </a:cxn>
                  <a:cxn ang="0">
                    <a:pos x="2384" y="1771"/>
                  </a:cxn>
                  <a:cxn ang="0">
                    <a:pos x="2215" y="1858"/>
                  </a:cxn>
                  <a:cxn ang="0">
                    <a:pos x="2120" y="1986"/>
                  </a:cxn>
                  <a:cxn ang="0">
                    <a:pos x="2054" y="2130"/>
                  </a:cxn>
                  <a:cxn ang="0">
                    <a:pos x="2014" y="2309"/>
                  </a:cxn>
                  <a:cxn ang="0">
                    <a:pos x="1912" y="2553"/>
                  </a:cxn>
                  <a:cxn ang="0">
                    <a:pos x="1719" y="2744"/>
                  </a:cxn>
                  <a:cxn ang="0">
                    <a:pos x="1560" y="2882"/>
                  </a:cxn>
                  <a:cxn ang="0">
                    <a:pos x="1483" y="2840"/>
                  </a:cxn>
                  <a:cxn ang="0">
                    <a:pos x="1506" y="2597"/>
                  </a:cxn>
                  <a:cxn ang="0">
                    <a:pos x="1699" y="2445"/>
                  </a:cxn>
                  <a:cxn ang="0">
                    <a:pos x="1522" y="2321"/>
                  </a:cxn>
                  <a:cxn ang="0">
                    <a:pos x="1475" y="2170"/>
                  </a:cxn>
                  <a:cxn ang="0">
                    <a:pos x="593" y="1555"/>
                  </a:cxn>
                  <a:cxn ang="0">
                    <a:pos x="455" y="1412"/>
                  </a:cxn>
                  <a:cxn ang="0">
                    <a:pos x="313" y="1268"/>
                  </a:cxn>
                  <a:cxn ang="0">
                    <a:pos x="207" y="1284"/>
                  </a:cxn>
                  <a:cxn ang="0">
                    <a:pos x="174" y="1365"/>
                  </a:cxn>
                  <a:cxn ang="0">
                    <a:pos x="0" y="1342"/>
                  </a:cxn>
                </a:cxnLst>
                <a:rect l="0" t="0" r="r" b="b"/>
                <a:pathLst>
                  <a:path w="3164" h="2882">
                    <a:moveTo>
                      <a:pt x="0" y="1342"/>
                    </a:moveTo>
                    <a:lnTo>
                      <a:pt x="134" y="1185"/>
                    </a:lnTo>
                    <a:lnTo>
                      <a:pt x="317" y="1008"/>
                    </a:lnTo>
                    <a:lnTo>
                      <a:pt x="515" y="765"/>
                    </a:lnTo>
                    <a:lnTo>
                      <a:pt x="759" y="552"/>
                    </a:lnTo>
                    <a:lnTo>
                      <a:pt x="971" y="366"/>
                    </a:lnTo>
                    <a:lnTo>
                      <a:pt x="1270" y="155"/>
                    </a:lnTo>
                    <a:lnTo>
                      <a:pt x="1626" y="0"/>
                    </a:lnTo>
                    <a:lnTo>
                      <a:pt x="2252" y="86"/>
                    </a:lnTo>
                    <a:lnTo>
                      <a:pt x="2380" y="171"/>
                    </a:lnTo>
                    <a:lnTo>
                      <a:pt x="2593" y="262"/>
                    </a:lnTo>
                    <a:lnTo>
                      <a:pt x="2758" y="410"/>
                    </a:lnTo>
                    <a:lnTo>
                      <a:pt x="2829" y="566"/>
                    </a:lnTo>
                    <a:lnTo>
                      <a:pt x="3046" y="657"/>
                    </a:lnTo>
                    <a:lnTo>
                      <a:pt x="3164" y="645"/>
                    </a:lnTo>
                    <a:lnTo>
                      <a:pt x="3081" y="801"/>
                    </a:lnTo>
                    <a:lnTo>
                      <a:pt x="3081" y="933"/>
                    </a:lnTo>
                    <a:lnTo>
                      <a:pt x="3152" y="1005"/>
                    </a:lnTo>
                    <a:lnTo>
                      <a:pt x="3010" y="1232"/>
                    </a:lnTo>
                    <a:lnTo>
                      <a:pt x="2751" y="1703"/>
                    </a:lnTo>
                    <a:lnTo>
                      <a:pt x="2558" y="1894"/>
                    </a:lnTo>
                    <a:lnTo>
                      <a:pt x="2231" y="2122"/>
                    </a:lnTo>
                    <a:lnTo>
                      <a:pt x="2207" y="2106"/>
                    </a:lnTo>
                    <a:lnTo>
                      <a:pt x="2349" y="2010"/>
                    </a:lnTo>
                    <a:lnTo>
                      <a:pt x="2479" y="1890"/>
                    </a:lnTo>
                    <a:lnTo>
                      <a:pt x="2502" y="1775"/>
                    </a:lnTo>
                    <a:lnTo>
                      <a:pt x="2593" y="1751"/>
                    </a:lnTo>
                    <a:lnTo>
                      <a:pt x="2688" y="1631"/>
                    </a:lnTo>
                    <a:lnTo>
                      <a:pt x="2735" y="1559"/>
                    </a:lnTo>
                    <a:lnTo>
                      <a:pt x="2762" y="1451"/>
                    </a:lnTo>
                    <a:lnTo>
                      <a:pt x="2739" y="1376"/>
                    </a:lnTo>
                    <a:lnTo>
                      <a:pt x="2640" y="1436"/>
                    </a:lnTo>
                    <a:lnTo>
                      <a:pt x="2526" y="1459"/>
                    </a:lnTo>
                    <a:lnTo>
                      <a:pt x="2439" y="1627"/>
                    </a:lnTo>
                    <a:lnTo>
                      <a:pt x="2384" y="1771"/>
                    </a:lnTo>
                    <a:lnTo>
                      <a:pt x="2215" y="1858"/>
                    </a:lnTo>
                    <a:lnTo>
                      <a:pt x="2120" y="1986"/>
                    </a:lnTo>
                    <a:lnTo>
                      <a:pt x="2054" y="2130"/>
                    </a:lnTo>
                    <a:lnTo>
                      <a:pt x="2014" y="2309"/>
                    </a:lnTo>
                    <a:lnTo>
                      <a:pt x="1912" y="2553"/>
                    </a:lnTo>
                    <a:lnTo>
                      <a:pt x="1719" y="2744"/>
                    </a:lnTo>
                    <a:lnTo>
                      <a:pt x="1560" y="2882"/>
                    </a:lnTo>
                    <a:lnTo>
                      <a:pt x="1483" y="2840"/>
                    </a:lnTo>
                    <a:lnTo>
                      <a:pt x="1506" y="2597"/>
                    </a:lnTo>
                    <a:lnTo>
                      <a:pt x="1699" y="2445"/>
                    </a:lnTo>
                    <a:lnTo>
                      <a:pt x="1522" y="2321"/>
                    </a:lnTo>
                    <a:lnTo>
                      <a:pt x="1475" y="2170"/>
                    </a:lnTo>
                    <a:lnTo>
                      <a:pt x="593" y="1555"/>
                    </a:lnTo>
                    <a:lnTo>
                      <a:pt x="455" y="1412"/>
                    </a:lnTo>
                    <a:lnTo>
                      <a:pt x="313" y="1268"/>
                    </a:lnTo>
                    <a:lnTo>
                      <a:pt x="207" y="1284"/>
                    </a:lnTo>
                    <a:lnTo>
                      <a:pt x="174" y="1365"/>
                    </a:lnTo>
                    <a:lnTo>
                      <a:pt x="0" y="1342"/>
                    </a:lnTo>
                    <a:close/>
                  </a:path>
                </a:pathLst>
              </a:custGeom>
              <a:solidFill>
                <a:srgbClr val="73BC44"/>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3" name="Freeform 35">
                <a:extLst>
                  <a:ext uri="{FF2B5EF4-FFF2-40B4-BE49-F238E27FC236}">
                    <a16:creationId xmlns:a16="http://schemas.microsoft.com/office/drawing/2014/main" id="{22322E0E-5C12-4072-8F7F-BD0EAB78E08A}"/>
                  </a:ext>
                </a:extLst>
              </p:cNvPr>
              <p:cNvSpPr>
                <a:spLocks/>
              </p:cNvSpPr>
              <p:nvPr/>
            </p:nvSpPr>
            <p:spPr bwMode="auto">
              <a:xfrm>
                <a:off x="1937" y="2266"/>
                <a:ext cx="588" cy="561"/>
              </a:xfrm>
              <a:custGeom>
                <a:avLst/>
                <a:gdLst/>
                <a:ahLst/>
                <a:cxnLst>
                  <a:cxn ang="0">
                    <a:pos x="1585" y="15"/>
                  </a:cxn>
                  <a:cxn ang="0">
                    <a:pos x="1668" y="175"/>
                  </a:cxn>
                  <a:cxn ang="0">
                    <a:pos x="2069" y="352"/>
                  </a:cxn>
                  <a:cxn ang="0">
                    <a:pos x="2224" y="150"/>
                  </a:cxn>
                  <a:cxn ang="0">
                    <a:pos x="2406" y="100"/>
                  </a:cxn>
                  <a:cxn ang="0">
                    <a:pos x="2466" y="370"/>
                  </a:cxn>
                  <a:cxn ang="0">
                    <a:pos x="2799" y="277"/>
                  </a:cxn>
                  <a:cxn ang="0">
                    <a:pos x="3064" y="405"/>
                  </a:cxn>
                  <a:cxn ang="0">
                    <a:pos x="3657" y="162"/>
                  </a:cxn>
                  <a:cxn ang="0">
                    <a:pos x="3892" y="240"/>
                  </a:cxn>
                  <a:cxn ang="0">
                    <a:pos x="3774" y="789"/>
                  </a:cxn>
                  <a:cxn ang="0">
                    <a:pos x="3922" y="1054"/>
                  </a:cxn>
                  <a:cxn ang="0">
                    <a:pos x="3867" y="1394"/>
                  </a:cxn>
                  <a:cxn ang="0">
                    <a:pos x="3603" y="1257"/>
                  </a:cxn>
                  <a:cxn ang="0">
                    <a:pos x="3583" y="1462"/>
                  </a:cxn>
                  <a:cxn ang="0">
                    <a:pos x="3392" y="1512"/>
                  </a:cxn>
                  <a:cxn ang="0">
                    <a:pos x="3377" y="1850"/>
                  </a:cxn>
                  <a:cxn ang="0">
                    <a:pos x="3052" y="2225"/>
                  </a:cxn>
                  <a:cxn ang="0">
                    <a:pos x="3160" y="2529"/>
                  </a:cxn>
                  <a:cxn ang="0">
                    <a:pos x="2998" y="2798"/>
                  </a:cxn>
                  <a:cxn ang="0">
                    <a:pos x="3057" y="2988"/>
                  </a:cxn>
                  <a:cxn ang="0">
                    <a:pos x="2934" y="3166"/>
                  </a:cxn>
                  <a:cxn ang="0">
                    <a:pos x="2609" y="3246"/>
                  </a:cxn>
                  <a:cxn ang="0">
                    <a:pos x="1974" y="3351"/>
                  </a:cxn>
                  <a:cxn ang="0">
                    <a:pos x="1447" y="3396"/>
                  </a:cxn>
                  <a:cxn ang="0">
                    <a:pos x="1118" y="3801"/>
                  </a:cxn>
                  <a:cxn ang="0">
                    <a:pos x="428" y="3396"/>
                  </a:cxn>
                  <a:cxn ang="0">
                    <a:pos x="113" y="3331"/>
                  </a:cxn>
                  <a:cxn ang="0">
                    <a:pos x="73" y="3148"/>
                  </a:cxn>
                  <a:cxn ang="0">
                    <a:pos x="0" y="2762"/>
                  </a:cxn>
                  <a:cxn ang="0">
                    <a:pos x="83" y="2502"/>
                  </a:cxn>
                  <a:cxn ang="0">
                    <a:pos x="260" y="2270"/>
                  </a:cxn>
                  <a:cxn ang="0">
                    <a:pos x="693" y="1744"/>
                  </a:cxn>
                  <a:cxn ang="0">
                    <a:pos x="928" y="1372"/>
                  </a:cxn>
                  <a:cxn ang="0">
                    <a:pos x="1240" y="1131"/>
                  </a:cxn>
                  <a:cxn ang="0">
                    <a:pos x="1343" y="818"/>
                  </a:cxn>
                  <a:cxn ang="0">
                    <a:pos x="1478" y="350"/>
                  </a:cxn>
                </a:cxnLst>
                <a:rect l="0" t="0" r="r" b="b"/>
                <a:pathLst>
                  <a:path w="3928" h="3801">
                    <a:moveTo>
                      <a:pt x="1563" y="182"/>
                    </a:moveTo>
                    <a:lnTo>
                      <a:pt x="1585" y="15"/>
                    </a:lnTo>
                    <a:lnTo>
                      <a:pt x="1648" y="67"/>
                    </a:lnTo>
                    <a:lnTo>
                      <a:pt x="1668" y="175"/>
                    </a:lnTo>
                    <a:lnTo>
                      <a:pt x="1991" y="255"/>
                    </a:lnTo>
                    <a:lnTo>
                      <a:pt x="2069" y="352"/>
                    </a:lnTo>
                    <a:lnTo>
                      <a:pt x="2209" y="297"/>
                    </a:lnTo>
                    <a:lnTo>
                      <a:pt x="2224" y="150"/>
                    </a:lnTo>
                    <a:lnTo>
                      <a:pt x="2344" y="0"/>
                    </a:lnTo>
                    <a:lnTo>
                      <a:pt x="2406" y="100"/>
                    </a:lnTo>
                    <a:lnTo>
                      <a:pt x="2416" y="280"/>
                    </a:lnTo>
                    <a:lnTo>
                      <a:pt x="2466" y="370"/>
                    </a:lnTo>
                    <a:lnTo>
                      <a:pt x="2581" y="280"/>
                    </a:lnTo>
                    <a:lnTo>
                      <a:pt x="2799" y="277"/>
                    </a:lnTo>
                    <a:lnTo>
                      <a:pt x="2832" y="405"/>
                    </a:lnTo>
                    <a:lnTo>
                      <a:pt x="3064" y="405"/>
                    </a:lnTo>
                    <a:lnTo>
                      <a:pt x="3450" y="300"/>
                    </a:lnTo>
                    <a:lnTo>
                      <a:pt x="3657" y="162"/>
                    </a:lnTo>
                    <a:lnTo>
                      <a:pt x="3824" y="161"/>
                    </a:lnTo>
                    <a:lnTo>
                      <a:pt x="3892" y="240"/>
                    </a:lnTo>
                    <a:lnTo>
                      <a:pt x="3869" y="460"/>
                    </a:lnTo>
                    <a:lnTo>
                      <a:pt x="3774" y="789"/>
                    </a:lnTo>
                    <a:lnTo>
                      <a:pt x="3839" y="949"/>
                    </a:lnTo>
                    <a:lnTo>
                      <a:pt x="3922" y="1054"/>
                    </a:lnTo>
                    <a:lnTo>
                      <a:pt x="3928" y="1252"/>
                    </a:lnTo>
                    <a:lnTo>
                      <a:pt x="3867" y="1394"/>
                    </a:lnTo>
                    <a:lnTo>
                      <a:pt x="3735" y="1357"/>
                    </a:lnTo>
                    <a:lnTo>
                      <a:pt x="3603" y="1257"/>
                    </a:lnTo>
                    <a:lnTo>
                      <a:pt x="3559" y="1372"/>
                    </a:lnTo>
                    <a:lnTo>
                      <a:pt x="3583" y="1462"/>
                    </a:lnTo>
                    <a:lnTo>
                      <a:pt x="3455" y="1407"/>
                    </a:lnTo>
                    <a:lnTo>
                      <a:pt x="3392" y="1512"/>
                    </a:lnTo>
                    <a:lnTo>
                      <a:pt x="3362" y="1670"/>
                    </a:lnTo>
                    <a:lnTo>
                      <a:pt x="3377" y="1850"/>
                    </a:lnTo>
                    <a:lnTo>
                      <a:pt x="3155" y="2001"/>
                    </a:lnTo>
                    <a:lnTo>
                      <a:pt x="3052" y="2225"/>
                    </a:lnTo>
                    <a:lnTo>
                      <a:pt x="3175" y="2364"/>
                    </a:lnTo>
                    <a:lnTo>
                      <a:pt x="3160" y="2529"/>
                    </a:lnTo>
                    <a:lnTo>
                      <a:pt x="2983" y="2693"/>
                    </a:lnTo>
                    <a:lnTo>
                      <a:pt x="2998" y="2798"/>
                    </a:lnTo>
                    <a:lnTo>
                      <a:pt x="3097" y="2828"/>
                    </a:lnTo>
                    <a:lnTo>
                      <a:pt x="3057" y="2988"/>
                    </a:lnTo>
                    <a:lnTo>
                      <a:pt x="3125" y="3106"/>
                    </a:lnTo>
                    <a:lnTo>
                      <a:pt x="2934" y="3166"/>
                    </a:lnTo>
                    <a:lnTo>
                      <a:pt x="2717" y="3291"/>
                    </a:lnTo>
                    <a:lnTo>
                      <a:pt x="2609" y="3246"/>
                    </a:lnTo>
                    <a:lnTo>
                      <a:pt x="2195" y="3216"/>
                    </a:lnTo>
                    <a:lnTo>
                      <a:pt x="1974" y="3351"/>
                    </a:lnTo>
                    <a:lnTo>
                      <a:pt x="1757" y="3346"/>
                    </a:lnTo>
                    <a:lnTo>
                      <a:pt x="1447" y="3396"/>
                    </a:lnTo>
                    <a:lnTo>
                      <a:pt x="1328" y="3590"/>
                    </a:lnTo>
                    <a:lnTo>
                      <a:pt x="1118" y="3801"/>
                    </a:lnTo>
                    <a:lnTo>
                      <a:pt x="619" y="3561"/>
                    </a:lnTo>
                    <a:lnTo>
                      <a:pt x="428" y="3396"/>
                    </a:lnTo>
                    <a:lnTo>
                      <a:pt x="171" y="3411"/>
                    </a:lnTo>
                    <a:lnTo>
                      <a:pt x="113" y="3331"/>
                    </a:lnTo>
                    <a:lnTo>
                      <a:pt x="176" y="3204"/>
                    </a:lnTo>
                    <a:lnTo>
                      <a:pt x="73" y="3148"/>
                    </a:lnTo>
                    <a:lnTo>
                      <a:pt x="9" y="2948"/>
                    </a:lnTo>
                    <a:lnTo>
                      <a:pt x="0" y="2762"/>
                    </a:lnTo>
                    <a:lnTo>
                      <a:pt x="5" y="2608"/>
                    </a:lnTo>
                    <a:lnTo>
                      <a:pt x="83" y="2502"/>
                    </a:lnTo>
                    <a:lnTo>
                      <a:pt x="84" y="2347"/>
                    </a:lnTo>
                    <a:lnTo>
                      <a:pt x="260" y="2270"/>
                    </a:lnTo>
                    <a:lnTo>
                      <a:pt x="510" y="1789"/>
                    </a:lnTo>
                    <a:lnTo>
                      <a:pt x="693" y="1744"/>
                    </a:lnTo>
                    <a:lnTo>
                      <a:pt x="838" y="1576"/>
                    </a:lnTo>
                    <a:lnTo>
                      <a:pt x="928" y="1372"/>
                    </a:lnTo>
                    <a:lnTo>
                      <a:pt x="1136" y="1317"/>
                    </a:lnTo>
                    <a:lnTo>
                      <a:pt x="1240" y="1131"/>
                    </a:lnTo>
                    <a:lnTo>
                      <a:pt x="1252" y="939"/>
                    </a:lnTo>
                    <a:lnTo>
                      <a:pt x="1343" y="818"/>
                    </a:lnTo>
                    <a:lnTo>
                      <a:pt x="1354" y="668"/>
                    </a:lnTo>
                    <a:lnTo>
                      <a:pt x="1478" y="350"/>
                    </a:lnTo>
                    <a:lnTo>
                      <a:pt x="1563" y="182"/>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4" name="Freeform 36">
                <a:extLst>
                  <a:ext uri="{FF2B5EF4-FFF2-40B4-BE49-F238E27FC236}">
                    <a16:creationId xmlns:a16="http://schemas.microsoft.com/office/drawing/2014/main" id="{611B49EA-53AA-49A6-A32C-473B11414ADB}"/>
                  </a:ext>
                </a:extLst>
              </p:cNvPr>
              <p:cNvSpPr>
                <a:spLocks/>
              </p:cNvSpPr>
              <p:nvPr/>
            </p:nvSpPr>
            <p:spPr bwMode="auto">
              <a:xfrm>
                <a:off x="2094" y="2411"/>
                <a:ext cx="902" cy="710"/>
              </a:xfrm>
              <a:custGeom>
                <a:avLst/>
                <a:gdLst/>
                <a:ahLst/>
                <a:cxnLst>
                  <a:cxn ang="0">
                    <a:pos x="2846" y="526"/>
                  </a:cxn>
                  <a:cxn ang="0">
                    <a:pos x="3235" y="284"/>
                  </a:cxn>
                  <a:cxn ang="0">
                    <a:pos x="3746" y="0"/>
                  </a:cxn>
                  <a:cxn ang="0">
                    <a:pos x="3998" y="140"/>
                  </a:cxn>
                  <a:cxn ang="0">
                    <a:pos x="4165" y="304"/>
                  </a:cxn>
                  <a:cxn ang="0">
                    <a:pos x="4588" y="394"/>
                  </a:cxn>
                  <a:cxn ang="0">
                    <a:pos x="5075" y="554"/>
                  </a:cxn>
                  <a:cxn ang="0">
                    <a:pos x="5286" y="917"/>
                  </a:cxn>
                  <a:cxn ang="0">
                    <a:pos x="5858" y="977"/>
                  </a:cxn>
                  <a:cxn ang="0">
                    <a:pos x="5833" y="1302"/>
                  </a:cxn>
                  <a:cxn ang="0">
                    <a:pos x="5769" y="1556"/>
                  </a:cxn>
                  <a:cxn ang="0">
                    <a:pos x="5578" y="1756"/>
                  </a:cxn>
                  <a:cxn ang="0">
                    <a:pos x="5774" y="2066"/>
                  </a:cxn>
                  <a:cxn ang="0">
                    <a:pos x="5568" y="2110"/>
                  </a:cxn>
                  <a:cxn ang="0">
                    <a:pos x="5370" y="2130"/>
                  </a:cxn>
                  <a:cxn ang="0">
                    <a:pos x="5258" y="2290"/>
                  </a:cxn>
                  <a:cxn ang="0">
                    <a:pos x="5301" y="2573"/>
                  </a:cxn>
                  <a:cxn ang="0">
                    <a:pos x="5258" y="2758"/>
                  </a:cxn>
                  <a:cxn ang="0">
                    <a:pos x="5095" y="3177"/>
                  </a:cxn>
                  <a:cxn ang="0">
                    <a:pos x="4750" y="3442"/>
                  </a:cxn>
                  <a:cxn ang="0">
                    <a:pos x="4564" y="3876"/>
                  </a:cxn>
                  <a:cxn ang="0">
                    <a:pos x="4455" y="4224"/>
                  </a:cxn>
                  <a:cxn ang="0">
                    <a:pos x="3884" y="4404"/>
                  </a:cxn>
                  <a:cxn ang="0">
                    <a:pos x="3116" y="4538"/>
                  </a:cxn>
                  <a:cxn ang="0">
                    <a:pos x="2641" y="4625"/>
                  </a:cxn>
                  <a:cxn ang="0">
                    <a:pos x="2403" y="4803"/>
                  </a:cxn>
                  <a:cxn ang="0">
                    <a:pos x="2290" y="4608"/>
                  </a:cxn>
                  <a:cxn ang="0">
                    <a:pos x="2211" y="4149"/>
                  </a:cxn>
                  <a:cxn ang="0">
                    <a:pos x="2240" y="3951"/>
                  </a:cxn>
                  <a:cxn ang="0">
                    <a:pos x="1945" y="3671"/>
                  </a:cxn>
                  <a:cxn ang="0">
                    <a:pos x="1950" y="3282"/>
                  </a:cxn>
                  <a:cxn ang="0">
                    <a:pos x="1419" y="3216"/>
                  </a:cxn>
                  <a:cxn ang="0">
                    <a:pos x="961" y="3294"/>
                  </a:cxn>
                  <a:cxn ang="0">
                    <a:pos x="530" y="3087"/>
                  </a:cxn>
                  <a:cxn ang="0">
                    <a:pos x="34" y="3123"/>
                  </a:cxn>
                  <a:cxn ang="0">
                    <a:pos x="71" y="2818"/>
                  </a:cxn>
                  <a:cxn ang="0">
                    <a:pos x="404" y="2411"/>
                  </a:cxn>
                  <a:cxn ang="0">
                    <a:pos x="931" y="2366"/>
                  </a:cxn>
                  <a:cxn ang="0">
                    <a:pos x="1561" y="2261"/>
                  </a:cxn>
                  <a:cxn ang="0">
                    <a:pos x="1889" y="2183"/>
                  </a:cxn>
                  <a:cxn ang="0">
                    <a:pos x="2009" y="2005"/>
                  </a:cxn>
                  <a:cxn ang="0">
                    <a:pos x="1948" y="1813"/>
                  </a:cxn>
                  <a:cxn ang="0">
                    <a:pos x="2111" y="1546"/>
                  </a:cxn>
                  <a:cxn ang="0">
                    <a:pos x="2004" y="1242"/>
                  </a:cxn>
                  <a:cxn ang="0">
                    <a:pos x="2329" y="865"/>
                  </a:cxn>
                  <a:cxn ang="0">
                    <a:pos x="2344" y="529"/>
                  </a:cxn>
                  <a:cxn ang="0">
                    <a:pos x="2536" y="479"/>
                  </a:cxn>
                  <a:cxn ang="0">
                    <a:pos x="2556" y="276"/>
                  </a:cxn>
                  <a:cxn ang="0">
                    <a:pos x="2816" y="409"/>
                  </a:cxn>
                </a:cxnLst>
                <a:rect l="0" t="0" r="r" b="b"/>
                <a:pathLst>
                  <a:path w="6025" h="4803">
                    <a:moveTo>
                      <a:pt x="2816" y="409"/>
                    </a:moveTo>
                    <a:lnTo>
                      <a:pt x="2846" y="526"/>
                    </a:lnTo>
                    <a:lnTo>
                      <a:pt x="3019" y="446"/>
                    </a:lnTo>
                    <a:lnTo>
                      <a:pt x="3235" y="284"/>
                    </a:lnTo>
                    <a:lnTo>
                      <a:pt x="3500" y="95"/>
                    </a:lnTo>
                    <a:lnTo>
                      <a:pt x="3746" y="0"/>
                    </a:lnTo>
                    <a:lnTo>
                      <a:pt x="3968" y="45"/>
                    </a:lnTo>
                    <a:lnTo>
                      <a:pt x="3998" y="140"/>
                    </a:lnTo>
                    <a:lnTo>
                      <a:pt x="3983" y="284"/>
                    </a:lnTo>
                    <a:lnTo>
                      <a:pt x="4165" y="304"/>
                    </a:lnTo>
                    <a:lnTo>
                      <a:pt x="4351" y="245"/>
                    </a:lnTo>
                    <a:lnTo>
                      <a:pt x="4588" y="394"/>
                    </a:lnTo>
                    <a:lnTo>
                      <a:pt x="4859" y="529"/>
                    </a:lnTo>
                    <a:lnTo>
                      <a:pt x="5075" y="554"/>
                    </a:lnTo>
                    <a:lnTo>
                      <a:pt x="5208" y="694"/>
                    </a:lnTo>
                    <a:lnTo>
                      <a:pt x="5286" y="917"/>
                    </a:lnTo>
                    <a:lnTo>
                      <a:pt x="5504" y="857"/>
                    </a:lnTo>
                    <a:lnTo>
                      <a:pt x="5858" y="977"/>
                    </a:lnTo>
                    <a:lnTo>
                      <a:pt x="6025" y="1142"/>
                    </a:lnTo>
                    <a:lnTo>
                      <a:pt x="5833" y="1302"/>
                    </a:lnTo>
                    <a:lnTo>
                      <a:pt x="5754" y="1441"/>
                    </a:lnTo>
                    <a:lnTo>
                      <a:pt x="5769" y="1556"/>
                    </a:lnTo>
                    <a:lnTo>
                      <a:pt x="5636" y="1571"/>
                    </a:lnTo>
                    <a:lnTo>
                      <a:pt x="5578" y="1756"/>
                    </a:lnTo>
                    <a:lnTo>
                      <a:pt x="5596" y="1915"/>
                    </a:lnTo>
                    <a:lnTo>
                      <a:pt x="5774" y="2066"/>
                    </a:lnTo>
                    <a:lnTo>
                      <a:pt x="5716" y="2171"/>
                    </a:lnTo>
                    <a:lnTo>
                      <a:pt x="5568" y="2110"/>
                    </a:lnTo>
                    <a:lnTo>
                      <a:pt x="5479" y="2145"/>
                    </a:lnTo>
                    <a:lnTo>
                      <a:pt x="5370" y="2130"/>
                    </a:lnTo>
                    <a:lnTo>
                      <a:pt x="5356" y="2245"/>
                    </a:lnTo>
                    <a:lnTo>
                      <a:pt x="5258" y="2290"/>
                    </a:lnTo>
                    <a:lnTo>
                      <a:pt x="5296" y="2413"/>
                    </a:lnTo>
                    <a:lnTo>
                      <a:pt x="5301" y="2573"/>
                    </a:lnTo>
                    <a:lnTo>
                      <a:pt x="5169" y="2648"/>
                    </a:lnTo>
                    <a:lnTo>
                      <a:pt x="5258" y="2758"/>
                    </a:lnTo>
                    <a:lnTo>
                      <a:pt x="5258" y="2967"/>
                    </a:lnTo>
                    <a:lnTo>
                      <a:pt x="5095" y="3177"/>
                    </a:lnTo>
                    <a:lnTo>
                      <a:pt x="4986" y="3382"/>
                    </a:lnTo>
                    <a:lnTo>
                      <a:pt x="4750" y="3442"/>
                    </a:lnTo>
                    <a:lnTo>
                      <a:pt x="4714" y="3711"/>
                    </a:lnTo>
                    <a:lnTo>
                      <a:pt x="4564" y="3876"/>
                    </a:lnTo>
                    <a:lnTo>
                      <a:pt x="4416" y="4114"/>
                    </a:lnTo>
                    <a:lnTo>
                      <a:pt x="4455" y="4224"/>
                    </a:lnTo>
                    <a:lnTo>
                      <a:pt x="4160" y="4354"/>
                    </a:lnTo>
                    <a:lnTo>
                      <a:pt x="3884" y="4404"/>
                    </a:lnTo>
                    <a:lnTo>
                      <a:pt x="3599" y="4384"/>
                    </a:lnTo>
                    <a:lnTo>
                      <a:pt x="3116" y="4538"/>
                    </a:lnTo>
                    <a:lnTo>
                      <a:pt x="2831" y="4653"/>
                    </a:lnTo>
                    <a:lnTo>
                      <a:pt x="2641" y="4625"/>
                    </a:lnTo>
                    <a:lnTo>
                      <a:pt x="2555" y="4763"/>
                    </a:lnTo>
                    <a:lnTo>
                      <a:pt x="2403" y="4803"/>
                    </a:lnTo>
                    <a:lnTo>
                      <a:pt x="2275" y="4718"/>
                    </a:lnTo>
                    <a:lnTo>
                      <a:pt x="2290" y="4608"/>
                    </a:lnTo>
                    <a:lnTo>
                      <a:pt x="2171" y="4504"/>
                    </a:lnTo>
                    <a:lnTo>
                      <a:pt x="2211" y="4149"/>
                    </a:lnTo>
                    <a:lnTo>
                      <a:pt x="2314" y="4029"/>
                    </a:lnTo>
                    <a:lnTo>
                      <a:pt x="2240" y="3951"/>
                    </a:lnTo>
                    <a:lnTo>
                      <a:pt x="2019" y="3936"/>
                    </a:lnTo>
                    <a:lnTo>
                      <a:pt x="1945" y="3671"/>
                    </a:lnTo>
                    <a:lnTo>
                      <a:pt x="2039" y="3536"/>
                    </a:lnTo>
                    <a:lnTo>
                      <a:pt x="1950" y="3282"/>
                    </a:lnTo>
                    <a:lnTo>
                      <a:pt x="1846" y="3163"/>
                    </a:lnTo>
                    <a:lnTo>
                      <a:pt x="1419" y="3216"/>
                    </a:lnTo>
                    <a:lnTo>
                      <a:pt x="1169" y="3216"/>
                    </a:lnTo>
                    <a:lnTo>
                      <a:pt x="961" y="3294"/>
                    </a:lnTo>
                    <a:lnTo>
                      <a:pt x="824" y="3096"/>
                    </a:lnTo>
                    <a:lnTo>
                      <a:pt x="530" y="3087"/>
                    </a:lnTo>
                    <a:lnTo>
                      <a:pt x="251" y="3023"/>
                    </a:lnTo>
                    <a:lnTo>
                      <a:pt x="34" y="3123"/>
                    </a:lnTo>
                    <a:lnTo>
                      <a:pt x="0" y="2987"/>
                    </a:lnTo>
                    <a:lnTo>
                      <a:pt x="71" y="2818"/>
                    </a:lnTo>
                    <a:lnTo>
                      <a:pt x="284" y="2606"/>
                    </a:lnTo>
                    <a:lnTo>
                      <a:pt x="404" y="2411"/>
                    </a:lnTo>
                    <a:lnTo>
                      <a:pt x="711" y="2363"/>
                    </a:lnTo>
                    <a:lnTo>
                      <a:pt x="931" y="2366"/>
                    </a:lnTo>
                    <a:lnTo>
                      <a:pt x="1151" y="2233"/>
                    </a:lnTo>
                    <a:lnTo>
                      <a:pt x="1561" y="2261"/>
                    </a:lnTo>
                    <a:lnTo>
                      <a:pt x="1670" y="2310"/>
                    </a:lnTo>
                    <a:lnTo>
                      <a:pt x="1889" y="2183"/>
                    </a:lnTo>
                    <a:lnTo>
                      <a:pt x="2076" y="2123"/>
                    </a:lnTo>
                    <a:lnTo>
                      <a:pt x="2009" y="2005"/>
                    </a:lnTo>
                    <a:lnTo>
                      <a:pt x="2051" y="1846"/>
                    </a:lnTo>
                    <a:lnTo>
                      <a:pt x="1948" y="1813"/>
                    </a:lnTo>
                    <a:lnTo>
                      <a:pt x="1935" y="1712"/>
                    </a:lnTo>
                    <a:lnTo>
                      <a:pt x="2111" y="1546"/>
                    </a:lnTo>
                    <a:lnTo>
                      <a:pt x="2128" y="1381"/>
                    </a:lnTo>
                    <a:lnTo>
                      <a:pt x="2004" y="1242"/>
                    </a:lnTo>
                    <a:lnTo>
                      <a:pt x="2109" y="1017"/>
                    </a:lnTo>
                    <a:lnTo>
                      <a:pt x="2329" y="865"/>
                    </a:lnTo>
                    <a:lnTo>
                      <a:pt x="2314" y="686"/>
                    </a:lnTo>
                    <a:lnTo>
                      <a:pt x="2344" y="529"/>
                    </a:lnTo>
                    <a:lnTo>
                      <a:pt x="2409" y="424"/>
                    </a:lnTo>
                    <a:lnTo>
                      <a:pt x="2536" y="479"/>
                    </a:lnTo>
                    <a:lnTo>
                      <a:pt x="2511" y="389"/>
                    </a:lnTo>
                    <a:lnTo>
                      <a:pt x="2556" y="276"/>
                    </a:lnTo>
                    <a:lnTo>
                      <a:pt x="2698" y="379"/>
                    </a:lnTo>
                    <a:lnTo>
                      <a:pt x="2816" y="40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5" name="Freeform 37">
                <a:extLst>
                  <a:ext uri="{FF2B5EF4-FFF2-40B4-BE49-F238E27FC236}">
                    <a16:creationId xmlns:a16="http://schemas.microsoft.com/office/drawing/2014/main" id="{FB2E28CD-7C8A-43B3-8496-7B1DFEA8F740}"/>
                  </a:ext>
                </a:extLst>
              </p:cNvPr>
              <p:cNvSpPr>
                <a:spLocks/>
              </p:cNvSpPr>
              <p:nvPr/>
            </p:nvSpPr>
            <p:spPr bwMode="auto">
              <a:xfrm>
                <a:off x="2561" y="2959"/>
                <a:ext cx="307" cy="180"/>
              </a:xfrm>
              <a:custGeom>
                <a:avLst/>
                <a:gdLst/>
                <a:ahLst/>
                <a:cxnLst>
                  <a:cxn ang="0">
                    <a:pos x="398" y="1169"/>
                  </a:cxn>
                  <a:cxn ang="0">
                    <a:pos x="613" y="1141"/>
                  </a:cxn>
                  <a:cxn ang="0">
                    <a:pos x="732" y="1051"/>
                  </a:cxn>
                  <a:cxn ang="0">
                    <a:pos x="879" y="1076"/>
                  </a:cxn>
                  <a:cxn ang="0">
                    <a:pos x="869" y="1196"/>
                  </a:cxn>
                  <a:cxn ang="0">
                    <a:pos x="1179" y="1181"/>
                  </a:cxn>
                  <a:cxn ang="0">
                    <a:pos x="1341" y="1211"/>
                  </a:cxn>
                  <a:cxn ang="0">
                    <a:pos x="1455" y="1141"/>
                  </a:cxn>
                  <a:cxn ang="0">
                    <a:pos x="1430" y="1031"/>
                  </a:cxn>
                  <a:cxn ang="0">
                    <a:pos x="1691" y="797"/>
                  </a:cxn>
                  <a:cxn ang="0">
                    <a:pos x="1956" y="717"/>
                  </a:cxn>
                  <a:cxn ang="0">
                    <a:pos x="1956" y="448"/>
                  </a:cxn>
                  <a:cxn ang="0">
                    <a:pos x="2048" y="288"/>
                  </a:cxn>
                  <a:cxn ang="0">
                    <a:pos x="1666" y="213"/>
                  </a:cxn>
                  <a:cxn ang="0">
                    <a:pos x="1646" y="94"/>
                  </a:cxn>
                  <a:cxn ang="0">
                    <a:pos x="1595" y="0"/>
                  </a:cxn>
                  <a:cxn ang="0">
                    <a:pos x="1451" y="158"/>
                  </a:cxn>
                  <a:cxn ang="0">
                    <a:pos x="1298" y="403"/>
                  </a:cxn>
                  <a:cxn ang="0">
                    <a:pos x="1338" y="514"/>
                  </a:cxn>
                  <a:cxn ang="0">
                    <a:pos x="1040" y="642"/>
                  </a:cxn>
                  <a:cxn ang="0">
                    <a:pos x="768" y="692"/>
                  </a:cxn>
                  <a:cxn ang="0">
                    <a:pos x="483" y="672"/>
                  </a:cxn>
                  <a:cxn ang="0">
                    <a:pos x="0" y="828"/>
                  </a:cxn>
                  <a:cxn ang="0">
                    <a:pos x="101" y="927"/>
                  </a:cxn>
                  <a:cxn ang="0">
                    <a:pos x="223" y="960"/>
                  </a:cxn>
                  <a:cxn ang="0">
                    <a:pos x="328" y="1042"/>
                  </a:cxn>
                  <a:cxn ang="0">
                    <a:pos x="398" y="1169"/>
                  </a:cxn>
                </a:cxnLst>
                <a:rect l="0" t="0" r="r" b="b"/>
                <a:pathLst>
                  <a:path w="2048" h="1211">
                    <a:moveTo>
                      <a:pt x="398" y="1169"/>
                    </a:moveTo>
                    <a:lnTo>
                      <a:pt x="613" y="1141"/>
                    </a:lnTo>
                    <a:lnTo>
                      <a:pt x="732" y="1051"/>
                    </a:lnTo>
                    <a:lnTo>
                      <a:pt x="879" y="1076"/>
                    </a:lnTo>
                    <a:lnTo>
                      <a:pt x="869" y="1196"/>
                    </a:lnTo>
                    <a:lnTo>
                      <a:pt x="1179" y="1181"/>
                    </a:lnTo>
                    <a:lnTo>
                      <a:pt x="1341" y="1211"/>
                    </a:lnTo>
                    <a:lnTo>
                      <a:pt x="1455" y="1141"/>
                    </a:lnTo>
                    <a:lnTo>
                      <a:pt x="1430" y="1031"/>
                    </a:lnTo>
                    <a:lnTo>
                      <a:pt x="1691" y="797"/>
                    </a:lnTo>
                    <a:lnTo>
                      <a:pt x="1956" y="717"/>
                    </a:lnTo>
                    <a:lnTo>
                      <a:pt x="1956" y="448"/>
                    </a:lnTo>
                    <a:lnTo>
                      <a:pt x="2048" y="288"/>
                    </a:lnTo>
                    <a:lnTo>
                      <a:pt x="1666" y="213"/>
                    </a:lnTo>
                    <a:lnTo>
                      <a:pt x="1646" y="94"/>
                    </a:lnTo>
                    <a:lnTo>
                      <a:pt x="1595" y="0"/>
                    </a:lnTo>
                    <a:lnTo>
                      <a:pt x="1451" y="158"/>
                    </a:lnTo>
                    <a:lnTo>
                      <a:pt x="1298" y="403"/>
                    </a:lnTo>
                    <a:lnTo>
                      <a:pt x="1338" y="514"/>
                    </a:lnTo>
                    <a:lnTo>
                      <a:pt x="1040" y="642"/>
                    </a:lnTo>
                    <a:lnTo>
                      <a:pt x="768" y="692"/>
                    </a:lnTo>
                    <a:lnTo>
                      <a:pt x="483" y="672"/>
                    </a:lnTo>
                    <a:lnTo>
                      <a:pt x="0" y="828"/>
                    </a:lnTo>
                    <a:lnTo>
                      <a:pt x="101" y="927"/>
                    </a:lnTo>
                    <a:lnTo>
                      <a:pt x="223" y="960"/>
                    </a:lnTo>
                    <a:lnTo>
                      <a:pt x="328" y="1042"/>
                    </a:lnTo>
                    <a:lnTo>
                      <a:pt x="398" y="116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6" name="Freeform 38">
                <a:extLst>
                  <a:ext uri="{FF2B5EF4-FFF2-40B4-BE49-F238E27FC236}">
                    <a16:creationId xmlns:a16="http://schemas.microsoft.com/office/drawing/2014/main" id="{56E581D5-0670-4A67-94C1-B99176F6BFA7}"/>
                  </a:ext>
                </a:extLst>
              </p:cNvPr>
              <p:cNvSpPr>
                <a:spLocks/>
              </p:cNvSpPr>
              <p:nvPr/>
            </p:nvSpPr>
            <p:spPr bwMode="auto">
              <a:xfrm>
                <a:off x="2800" y="2723"/>
                <a:ext cx="190" cy="279"/>
              </a:xfrm>
              <a:custGeom>
                <a:avLst/>
                <a:gdLst/>
                <a:ahLst/>
                <a:cxnLst>
                  <a:cxn ang="0">
                    <a:pos x="1265" y="254"/>
                  </a:cxn>
                  <a:cxn ang="0">
                    <a:pos x="1123" y="166"/>
                  </a:cxn>
                  <a:cxn ang="0">
                    <a:pos x="1000" y="61"/>
                  </a:cxn>
                  <a:cxn ang="0">
                    <a:pos x="849" y="0"/>
                  </a:cxn>
                  <a:cxn ang="0">
                    <a:pos x="763" y="34"/>
                  </a:cxn>
                  <a:cxn ang="0">
                    <a:pos x="655" y="21"/>
                  </a:cxn>
                  <a:cxn ang="0">
                    <a:pos x="643" y="131"/>
                  </a:cxn>
                  <a:cxn ang="0">
                    <a:pos x="545" y="181"/>
                  </a:cxn>
                  <a:cxn ang="0">
                    <a:pos x="585" y="304"/>
                  </a:cxn>
                  <a:cxn ang="0">
                    <a:pos x="590" y="464"/>
                  </a:cxn>
                  <a:cxn ang="0">
                    <a:pos x="455" y="537"/>
                  </a:cxn>
                  <a:cxn ang="0">
                    <a:pos x="543" y="644"/>
                  </a:cxn>
                  <a:cxn ang="0">
                    <a:pos x="540" y="864"/>
                  </a:cxn>
                  <a:cxn ang="0">
                    <a:pos x="382" y="1064"/>
                  </a:cxn>
                  <a:cxn ang="0">
                    <a:pos x="274" y="1272"/>
                  </a:cxn>
                  <a:cxn ang="0">
                    <a:pos x="35" y="1332"/>
                  </a:cxn>
                  <a:cxn ang="0">
                    <a:pos x="0" y="1605"/>
                  </a:cxn>
                  <a:cxn ang="0">
                    <a:pos x="50" y="1700"/>
                  </a:cxn>
                  <a:cxn ang="0">
                    <a:pos x="70" y="1815"/>
                  </a:cxn>
                  <a:cxn ang="0">
                    <a:pos x="450" y="1891"/>
                  </a:cxn>
                  <a:cxn ang="0">
                    <a:pos x="598" y="1696"/>
                  </a:cxn>
                  <a:cxn ang="0">
                    <a:pos x="854" y="1527"/>
                  </a:cxn>
                  <a:cxn ang="0">
                    <a:pos x="883" y="1362"/>
                  </a:cxn>
                  <a:cxn ang="0">
                    <a:pos x="996" y="1113"/>
                  </a:cxn>
                  <a:cxn ang="0">
                    <a:pos x="1193" y="943"/>
                  </a:cxn>
                  <a:cxn ang="0">
                    <a:pos x="1203" y="554"/>
                  </a:cxn>
                  <a:cxn ang="0">
                    <a:pos x="1265" y="254"/>
                  </a:cxn>
                </a:cxnLst>
                <a:rect l="0" t="0" r="r" b="b"/>
                <a:pathLst>
                  <a:path w="1265" h="1891">
                    <a:moveTo>
                      <a:pt x="1265" y="254"/>
                    </a:moveTo>
                    <a:lnTo>
                      <a:pt x="1123" y="166"/>
                    </a:lnTo>
                    <a:lnTo>
                      <a:pt x="1000" y="61"/>
                    </a:lnTo>
                    <a:lnTo>
                      <a:pt x="849" y="0"/>
                    </a:lnTo>
                    <a:lnTo>
                      <a:pt x="763" y="34"/>
                    </a:lnTo>
                    <a:lnTo>
                      <a:pt x="655" y="21"/>
                    </a:lnTo>
                    <a:lnTo>
                      <a:pt x="643" y="131"/>
                    </a:lnTo>
                    <a:lnTo>
                      <a:pt x="545" y="181"/>
                    </a:lnTo>
                    <a:lnTo>
                      <a:pt x="585" y="304"/>
                    </a:lnTo>
                    <a:lnTo>
                      <a:pt x="590" y="464"/>
                    </a:lnTo>
                    <a:lnTo>
                      <a:pt x="455" y="537"/>
                    </a:lnTo>
                    <a:lnTo>
                      <a:pt x="543" y="644"/>
                    </a:lnTo>
                    <a:lnTo>
                      <a:pt x="540" y="864"/>
                    </a:lnTo>
                    <a:lnTo>
                      <a:pt x="382" y="1064"/>
                    </a:lnTo>
                    <a:lnTo>
                      <a:pt x="274" y="1272"/>
                    </a:lnTo>
                    <a:lnTo>
                      <a:pt x="35" y="1332"/>
                    </a:lnTo>
                    <a:lnTo>
                      <a:pt x="0" y="1605"/>
                    </a:lnTo>
                    <a:lnTo>
                      <a:pt x="50" y="1700"/>
                    </a:lnTo>
                    <a:lnTo>
                      <a:pt x="70" y="1815"/>
                    </a:lnTo>
                    <a:lnTo>
                      <a:pt x="450" y="1891"/>
                    </a:lnTo>
                    <a:lnTo>
                      <a:pt x="598" y="1696"/>
                    </a:lnTo>
                    <a:lnTo>
                      <a:pt x="854" y="1527"/>
                    </a:lnTo>
                    <a:lnTo>
                      <a:pt x="883" y="1362"/>
                    </a:lnTo>
                    <a:lnTo>
                      <a:pt x="996" y="1113"/>
                    </a:lnTo>
                    <a:lnTo>
                      <a:pt x="1193" y="943"/>
                    </a:lnTo>
                    <a:lnTo>
                      <a:pt x="1203" y="554"/>
                    </a:lnTo>
                    <a:lnTo>
                      <a:pt x="1265" y="254"/>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7" name="Freeform 39">
                <a:extLst>
                  <a:ext uri="{FF2B5EF4-FFF2-40B4-BE49-F238E27FC236}">
                    <a16:creationId xmlns:a16="http://schemas.microsoft.com/office/drawing/2014/main" id="{259AA506-85F1-457C-ADBD-FB0D92033AE9}"/>
                  </a:ext>
                </a:extLst>
              </p:cNvPr>
              <p:cNvSpPr>
                <a:spLocks/>
              </p:cNvSpPr>
              <p:nvPr/>
            </p:nvSpPr>
            <p:spPr bwMode="auto">
              <a:xfrm>
                <a:off x="2488" y="1949"/>
                <a:ext cx="726" cy="811"/>
              </a:xfrm>
              <a:custGeom>
                <a:avLst/>
                <a:gdLst/>
                <a:ahLst/>
                <a:cxnLst>
                  <a:cxn ang="0">
                    <a:pos x="148" y="1143"/>
                  </a:cxn>
                  <a:cxn ang="0">
                    <a:pos x="74" y="1616"/>
                  </a:cxn>
                  <a:cxn ang="0">
                    <a:pos x="261" y="1661"/>
                  </a:cxn>
                  <a:cxn ang="0">
                    <a:pos x="251" y="1780"/>
                  </a:cxn>
                  <a:cxn ang="0">
                    <a:pos x="54" y="1995"/>
                  </a:cxn>
                  <a:cxn ang="0">
                    <a:pos x="143" y="2304"/>
                  </a:cxn>
                  <a:cxn ang="0">
                    <a:pos x="188" y="2624"/>
                  </a:cxn>
                  <a:cxn ang="0">
                    <a:pos x="163" y="3098"/>
                  </a:cxn>
                  <a:cxn ang="0">
                    <a:pos x="253" y="3399"/>
                  </a:cxn>
                  <a:cxn ang="0">
                    <a:pos x="216" y="3657"/>
                  </a:cxn>
                  <a:cxn ang="0">
                    <a:pos x="866" y="3223"/>
                  </a:cxn>
                  <a:cxn ang="0">
                    <a:pos x="1340" y="3172"/>
                  </a:cxn>
                  <a:cxn ang="0">
                    <a:pos x="1354" y="3412"/>
                  </a:cxn>
                  <a:cxn ang="0">
                    <a:pos x="1725" y="3372"/>
                  </a:cxn>
                  <a:cxn ang="0">
                    <a:pos x="2233" y="3657"/>
                  </a:cxn>
                  <a:cxn ang="0">
                    <a:pos x="2583" y="3829"/>
                  </a:cxn>
                  <a:cxn ang="0">
                    <a:pos x="2873" y="3987"/>
                  </a:cxn>
                  <a:cxn ang="0">
                    <a:pos x="3395" y="4269"/>
                  </a:cxn>
                  <a:cxn ang="0">
                    <a:pos x="3125" y="4569"/>
                  </a:cxn>
                  <a:cxn ang="0">
                    <a:pos x="3005" y="4699"/>
                  </a:cxn>
                  <a:cxn ang="0">
                    <a:pos x="2968" y="5043"/>
                  </a:cxn>
                  <a:cxn ang="0">
                    <a:pos x="3087" y="5297"/>
                  </a:cxn>
                  <a:cxn ang="0">
                    <a:pos x="3352" y="5492"/>
                  </a:cxn>
                  <a:cxn ang="0">
                    <a:pos x="3692" y="5228"/>
                  </a:cxn>
                  <a:cxn ang="0">
                    <a:pos x="3745" y="4549"/>
                  </a:cxn>
                  <a:cxn ang="0">
                    <a:pos x="3893" y="3532"/>
                  </a:cxn>
                  <a:cxn ang="0">
                    <a:pos x="4012" y="2903"/>
                  </a:cxn>
                  <a:cxn ang="0">
                    <a:pos x="4149" y="2594"/>
                  </a:cxn>
                  <a:cxn ang="0">
                    <a:pos x="4208" y="2349"/>
                  </a:cxn>
                  <a:cxn ang="0">
                    <a:pos x="4410" y="2399"/>
                  </a:cxn>
                  <a:cxn ang="0">
                    <a:pos x="4735" y="2040"/>
                  </a:cxn>
                  <a:cxn ang="0">
                    <a:pos x="4725" y="1741"/>
                  </a:cxn>
                  <a:cxn ang="0">
                    <a:pos x="4503" y="1441"/>
                  </a:cxn>
                  <a:cxn ang="0">
                    <a:pos x="4637" y="1256"/>
                  </a:cxn>
                  <a:cxn ang="0">
                    <a:pos x="4754" y="913"/>
                  </a:cxn>
                  <a:cxn ang="0">
                    <a:pos x="4474" y="294"/>
                  </a:cxn>
                  <a:cxn ang="0">
                    <a:pos x="4218" y="225"/>
                  </a:cxn>
                  <a:cxn ang="0">
                    <a:pos x="3677" y="140"/>
                  </a:cxn>
                  <a:cxn ang="0">
                    <a:pos x="3440" y="299"/>
                  </a:cxn>
                  <a:cxn ang="0">
                    <a:pos x="3214" y="484"/>
                  </a:cxn>
                  <a:cxn ang="0">
                    <a:pos x="3110" y="284"/>
                  </a:cxn>
                  <a:cxn ang="0">
                    <a:pos x="2879" y="60"/>
                  </a:cxn>
                  <a:cxn ang="0">
                    <a:pos x="2475" y="349"/>
                  </a:cxn>
                  <a:cxn ang="0">
                    <a:pos x="2091" y="529"/>
                  </a:cxn>
                  <a:cxn ang="0">
                    <a:pos x="1826" y="469"/>
                  </a:cxn>
                  <a:cxn ang="0">
                    <a:pos x="1619" y="404"/>
                  </a:cxn>
                  <a:cxn ang="0">
                    <a:pos x="1580" y="629"/>
                  </a:cxn>
                  <a:cxn ang="0">
                    <a:pos x="1508" y="935"/>
                  </a:cxn>
                  <a:cxn ang="0">
                    <a:pos x="1168" y="1085"/>
                  </a:cxn>
                  <a:cxn ang="0">
                    <a:pos x="868" y="1258"/>
                  </a:cxn>
                  <a:cxn ang="0">
                    <a:pos x="630" y="1108"/>
                  </a:cxn>
                  <a:cxn ang="0">
                    <a:pos x="388" y="966"/>
                  </a:cxn>
                </a:cxnLst>
                <a:rect l="0" t="0" r="r" b="b"/>
                <a:pathLst>
                  <a:path w="4852" h="5492">
                    <a:moveTo>
                      <a:pt x="388" y="966"/>
                    </a:moveTo>
                    <a:lnTo>
                      <a:pt x="148" y="1143"/>
                    </a:lnTo>
                    <a:lnTo>
                      <a:pt x="0" y="1501"/>
                    </a:lnTo>
                    <a:lnTo>
                      <a:pt x="74" y="1616"/>
                    </a:lnTo>
                    <a:lnTo>
                      <a:pt x="188" y="1616"/>
                    </a:lnTo>
                    <a:lnTo>
                      <a:pt x="261" y="1661"/>
                    </a:lnTo>
                    <a:lnTo>
                      <a:pt x="158" y="1750"/>
                    </a:lnTo>
                    <a:lnTo>
                      <a:pt x="251" y="1780"/>
                    </a:lnTo>
                    <a:lnTo>
                      <a:pt x="216" y="1815"/>
                    </a:lnTo>
                    <a:lnTo>
                      <a:pt x="54" y="1995"/>
                    </a:lnTo>
                    <a:lnTo>
                      <a:pt x="163" y="2175"/>
                    </a:lnTo>
                    <a:lnTo>
                      <a:pt x="143" y="2304"/>
                    </a:lnTo>
                    <a:lnTo>
                      <a:pt x="216" y="2384"/>
                    </a:lnTo>
                    <a:lnTo>
                      <a:pt x="188" y="2624"/>
                    </a:lnTo>
                    <a:lnTo>
                      <a:pt x="99" y="2933"/>
                    </a:lnTo>
                    <a:lnTo>
                      <a:pt x="163" y="3098"/>
                    </a:lnTo>
                    <a:lnTo>
                      <a:pt x="246" y="3203"/>
                    </a:lnTo>
                    <a:lnTo>
                      <a:pt x="253" y="3399"/>
                    </a:lnTo>
                    <a:lnTo>
                      <a:pt x="189" y="3538"/>
                    </a:lnTo>
                    <a:lnTo>
                      <a:pt x="216" y="3657"/>
                    </a:lnTo>
                    <a:lnTo>
                      <a:pt x="391" y="3572"/>
                    </a:lnTo>
                    <a:lnTo>
                      <a:pt x="866" y="3223"/>
                    </a:lnTo>
                    <a:lnTo>
                      <a:pt x="1118" y="3129"/>
                    </a:lnTo>
                    <a:lnTo>
                      <a:pt x="1340" y="3172"/>
                    </a:lnTo>
                    <a:lnTo>
                      <a:pt x="1369" y="3267"/>
                    </a:lnTo>
                    <a:lnTo>
                      <a:pt x="1354" y="3412"/>
                    </a:lnTo>
                    <a:lnTo>
                      <a:pt x="1535" y="3432"/>
                    </a:lnTo>
                    <a:lnTo>
                      <a:pt x="1725" y="3372"/>
                    </a:lnTo>
                    <a:lnTo>
                      <a:pt x="1945" y="3514"/>
                    </a:lnTo>
                    <a:lnTo>
                      <a:pt x="2233" y="3657"/>
                    </a:lnTo>
                    <a:lnTo>
                      <a:pt x="2453" y="3684"/>
                    </a:lnTo>
                    <a:lnTo>
                      <a:pt x="2583" y="3829"/>
                    </a:lnTo>
                    <a:lnTo>
                      <a:pt x="2660" y="4047"/>
                    </a:lnTo>
                    <a:lnTo>
                      <a:pt x="2873" y="3987"/>
                    </a:lnTo>
                    <a:lnTo>
                      <a:pt x="3230" y="4104"/>
                    </a:lnTo>
                    <a:lnTo>
                      <a:pt x="3395" y="4269"/>
                    </a:lnTo>
                    <a:lnTo>
                      <a:pt x="3203" y="4429"/>
                    </a:lnTo>
                    <a:lnTo>
                      <a:pt x="3125" y="4569"/>
                    </a:lnTo>
                    <a:lnTo>
                      <a:pt x="3140" y="4684"/>
                    </a:lnTo>
                    <a:lnTo>
                      <a:pt x="3005" y="4699"/>
                    </a:lnTo>
                    <a:lnTo>
                      <a:pt x="2948" y="4883"/>
                    </a:lnTo>
                    <a:lnTo>
                      <a:pt x="2968" y="5043"/>
                    </a:lnTo>
                    <a:lnTo>
                      <a:pt x="3145" y="5193"/>
                    </a:lnTo>
                    <a:lnTo>
                      <a:pt x="3087" y="5297"/>
                    </a:lnTo>
                    <a:lnTo>
                      <a:pt x="3204" y="5402"/>
                    </a:lnTo>
                    <a:lnTo>
                      <a:pt x="3352" y="5492"/>
                    </a:lnTo>
                    <a:lnTo>
                      <a:pt x="3465" y="5372"/>
                    </a:lnTo>
                    <a:lnTo>
                      <a:pt x="3692" y="5228"/>
                    </a:lnTo>
                    <a:lnTo>
                      <a:pt x="3662" y="4973"/>
                    </a:lnTo>
                    <a:lnTo>
                      <a:pt x="3745" y="4549"/>
                    </a:lnTo>
                    <a:lnTo>
                      <a:pt x="3913" y="4221"/>
                    </a:lnTo>
                    <a:lnTo>
                      <a:pt x="3893" y="3532"/>
                    </a:lnTo>
                    <a:lnTo>
                      <a:pt x="3967" y="3103"/>
                    </a:lnTo>
                    <a:lnTo>
                      <a:pt x="4012" y="2903"/>
                    </a:lnTo>
                    <a:lnTo>
                      <a:pt x="3987" y="2724"/>
                    </a:lnTo>
                    <a:lnTo>
                      <a:pt x="4149" y="2594"/>
                    </a:lnTo>
                    <a:lnTo>
                      <a:pt x="4114" y="2424"/>
                    </a:lnTo>
                    <a:lnTo>
                      <a:pt x="4208" y="2349"/>
                    </a:lnTo>
                    <a:lnTo>
                      <a:pt x="4277" y="2534"/>
                    </a:lnTo>
                    <a:lnTo>
                      <a:pt x="4410" y="2399"/>
                    </a:lnTo>
                    <a:lnTo>
                      <a:pt x="4548" y="2245"/>
                    </a:lnTo>
                    <a:lnTo>
                      <a:pt x="4735" y="2040"/>
                    </a:lnTo>
                    <a:lnTo>
                      <a:pt x="4852" y="1777"/>
                    </a:lnTo>
                    <a:lnTo>
                      <a:pt x="4725" y="1741"/>
                    </a:lnTo>
                    <a:lnTo>
                      <a:pt x="4573" y="1621"/>
                    </a:lnTo>
                    <a:lnTo>
                      <a:pt x="4503" y="1441"/>
                    </a:lnTo>
                    <a:lnTo>
                      <a:pt x="4484" y="1256"/>
                    </a:lnTo>
                    <a:lnTo>
                      <a:pt x="4637" y="1256"/>
                    </a:lnTo>
                    <a:lnTo>
                      <a:pt x="4720" y="1183"/>
                    </a:lnTo>
                    <a:lnTo>
                      <a:pt x="4754" y="913"/>
                    </a:lnTo>
                    <a:lnTo>
                      <a:pt x="4637" y="749"/>
                    </a:lnTo>
                    <a:lnTo>
                      <a:pt x="4474" y="294"/>
                    </a:lnTo>
                    <a:lnTo>
                      <a:pt x="4342" y="304"/>
                    </a:lnTo>
                    <a:lnTo>
                      <a:pt x="4218" y="225"/>
                    </a:lnTo>
                    <a:lnTo>
                      <a:pt x="3893" y="0"/>
                    </a:lnTo>
                    <a:lnTo>
                      <a:pt x="3677" y="140"/>
                    </a:lnTo>
                    <a:lnTo>
                      <a:pt x="3618" y="274"/>
                    </a:lnTo>
                    <a:lnTo>
                      <a:pt x="3440" y="299"/>
                    </a:lnTo>
                    <a:lnTo>
                      <a:pt x="3382" y="434"/>
                    </a:lnTo>
                    <a:lnTo>
                      <a:pt x="3214" y="484"/>
                    </a:lnTo>
                    <a:lnTo>
                      <a:pt x="3204" y="379"/>
                    </a:lnTo>
                    <a:lnTo>
                      <a:pt x="3110" y="284"/>
                    </a:lnTo>
                    <a:lnTo>
                      <a:pt x="3110" y="150"/>
                    </a:lnTo>
                    <a:lnTo>
                      <a:pt x="2879" y="60"/>
                    </a:lnTo>
                    <a:lnTo>
                      <a:pt x="2609" y="359"/>
                    </a:lnTo>
                    <a:lnTo>
                      <a:pt x="2475" y="349"/>
                    </a:lnTo>
                    <a:lnTo>
                      <a:pt x="2304" y="394"/>
                    </a:lnTo>
                    <a:lnTo>
                      <a:pt x="2091" y="529"/>
                    </a:lnTo>
                    <a:lnTo>
                      <a:pt x="1929" y="424"/>
                    </a:lnTo>
                    <a:lnTo>
                      <a:pt x="1826" y="469"/>
                    </a:lnTo>
                    <a:lnTo>
                      <a:pt x="1723" y="404"/>
                    </a:lnTo>
                    <a:lnTo>
                      <a:pt x="1619" y="404"/>
                    </a:lnTo>
                    <a:lnTo>
                      <a:pt x="1501" y="469"/>
                    </a:lnTo>
                    <a:lnTo>
                      <a:pt x="1580" y="629"/>
                    </a:lnTo>
                    <a:lnTo>
                      <a:pt x="1580" y="808"/>
                    </a:lnTo>
                    <a:lnTo>
                      <a:pt x="1508" y="935"/>
                    </a:lnTo>
                    <a:lnTo>
                      <a:pt x="1329" y="1138"/>
                    </a:lnTo>
                    <a:lnTo>
                      <a:pt x="1168" y="1085"/>
                    </a:lnTo>
                    <a:lnTo>
                      <a:pt x="1040" y="1184"/>
                    </a:lnTo>
                    <a:lnTo>
                      <a:pt x="868" y="1258"/>
                    </a:lnTo>
                    <a:lnTo>
                      <a:pt x="718" y="1214"/>
                    </a:lnTo>
                    <a:lnTo>
                      <a:pt x="630" y="1108"/>
                    </a:lnTo>
                    <a:lnTo>
                      <a:pt x="571" y="948"/>
                    </a:lnTo>
                    <a:lnTo>
                      <a:pt x="388" y="96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8" name="Freeform 40">
                <a:extLst>
                  <a:ext uri="{FF2B5EF4-FFF2-40B4-BE49-F238E27FC236}">
                    <a16:creationId xmlns:a16="http://schemas.microsoft.com/office/drawing/2014/main" id="{61DD4CE4-EED0-4562-9C71-6335BBE1114F}"/>
                  </a:ext>
                </a:extLst>
              </p:cNvPr>
              <p:cNvSpPr>
                <a:spLocks/>
              </p:cNvSpPr>
              <p:nvPr/>
            </p:nvSpPr>
            <p:spPr bwMode="auto">
              <a:xfrm>
                <a:off x="2154" y="1659"/>
                <a:ext cx="392" cy="667"/>
              </a:xfrm>
              <a:custGeom>
                <a:avLst/>
                <a:gdLst/>
                <a:ahLst/>
                <a:cxnLst>
                  <a:cxn ang="0">
                    <a:pos x="1487" y="65"/>
                  </a:cxn>
                  <a:cxn ang="0">
                    <a:pos x="1723" y="110"/>
                  </a:cxn>
                  <a:cxn ang="0">
                    <a:pos x="1862" y="369"/>
                  </a:cxn>
                  <a:cxn ang="0">
                    <a:pos x="1935" y="664"/>
                  </a:cxn>
                  <a:cxn ang="0">
                    <a:pos x="1817" y="1023"/>
                  </a:cxn>
                  <a:cxn ang="0">
                    <a:pos x="1832" y="1208"/>
                  </a:cxn>
                  <a:cxn ang="0">
                    <a:pos x="1979" y="1477"/>
                  </a:cxn>
                  <a:cxn ang="0">
                    <a:pos x="2363" y="1567"/>
                  </a:cxn>
                  <a:cxn ang="0">
                    <a:pos x="2344" y="1805"/>
                  </a:cxn>
                  <a:cxn ang="0">
                    <a:pos x="2137" y="1906"/>
                  </a:cxn>
                  <a:cxn ang="0">
                    <a:pos x="2009" y="2146"/>
                  </a:cxn>
                  <a:cxn ang="0">
                    <a:pos x="2172" y="2429"/>
                  </a:cxn>
                  <a:cxn ang="0">
                    <a:pos x="2245" y="2579"/>
                  </a:cxn>
                  <a:cxn ang="0">
                    <a:pos x="2373" y="2803"/>
                  </a:cxn>
                  <a:cxn ang="0">
                    <a:pos x="2557" y="2876"/>
                  </a:cxn>
                  <a:cxn ang="0">
                    <a:pos x="2377" y="3108"/>
                  </a:cxn>
                  <a:cxn ang="0">
                    <a:pos x="2304" y="3582"/>
                  </a:cxn>
                  <a:cxn ang="0">
                    <a:pos x="2490" y="3626"/>
                  </a:cxn>
                  <a:cxn ang="0">
                    <a:pos x="2479" y="3746"/>
                  </a:cxn>
                  <a:cxn ang="0">
                    <a:pos x="2392" y="4140"/>
                  </a:cxn>
                  <a:cxn ang="0">
                    <a:pos x="2213" y="4274"/>
                  </a:cxn>
                  <a:cxn ang="0">
                    <a:pos x="1625" y="4515"/>
                  </a:cxn>
                  <a:cxn ang="0">
                    <a:pos x="1354" y="4390"/>
                  </a:cxn>
                  <a:cxn ang="0">
                    <a:pos x="1019" y="4480"/>
                  </a:cxn>
                  <a:cxn ang="0">
                    <a:pos x="960" y="4211"/>
                  </a:cxn>
                  <a:cxn ang="0">
                    <a:pos x="778" y="4261"/>
                  </a:cxn>
                  <a:cxn ang="0">
                    <a:pos x="623" y="4462"/>
                  </a:cxn>
                  <a:cxn ang="0">
                    <a:pos x="221" y="4285"/>
                  </a:cxn>
                  <a:cxn ang="0">
                    <a:pos x="136" y="4126"/>
                  </a:cxn>
                  <a:cxn ang="0">
                    <a:pos x="0" y="4182"/>
                  </a:cxn>
                  <a:cxn ang="0">
                    <a:pos x="10" y="3467"/>
                  </a:cxn>
                  <a:cxn ang="0">
                    <a:pos x="325" y="2599"/>
                  </a:cxn>
                  <a:cxn ang="0">
                    <a:pos x="561" y="2116"/>
                  </a:cxn>
                  <a:cxn ang="0">
                    <a:pos x="925" y="1562"/>
                  </a:cxn>
                  <a:cxn ang="0">
                    <a:pos x="881" y="1148"/>
                  </a:cxn>
                  <a:cxn ang="0">
                    <a:pos x="1118" y="873"/>
                  </a:cxn>
                  <a:cxn ang="0">
                    <a:pos x="1413" y="339"/>
                  </a:cxn>
                  <a:cxn ang="0">
                    <a:pos x="1384" y="145"/>
                  </a:cxn>
                  <a:cxn ang="0">
                    <a:pos x="1344" y="0"/>
                  </a:cxn>
                </a:cxnLst>
                <a:rect l="0" t="0" r="r" b="b"/>
                <a:pathLst>
                  <a:path w="2618" h="4515">
                    <a:moveTo>
                      <a:pt x="1344" y="0"/>
                    </a:moveTo>
                    <a:lnTo>
                      <a:pt x="1487" y="65"/>
                    </a:lnTo>
                    <a:lnTo>
                      <a:pt x="1595" y="35"/>
                    </a:lnTo>
                    <a:lnTo>
                      <a:pt x="1723" y="110"/>
                    </a:lnTo>
                    <a:lnTo>
                      <a:pt x="1870" y="185"/>
                    </a:lnTo>
                    <a:lnTo>
                      <a:pt x="1862" y="369"/>
                    </a:lnTo>
                    <a:lnTo>
                      <a:pt x="1890" y="549"/>
                    </a:lnTo>
                    <a:lnTo>
                      <a:pt x="1935" y="664"/>
                    </a:lnTo>
                    <a:lnTo>
                      <a:pt x="1847" y="788"/>
                    </a:lnTo>
                    <a:lnTo>
                      <a:pt x="1817" y="1023"/>
                    </a:lnTo>
                    <a:lnTo>
                      <a:pt x="1713" y="1163"/>
                    </a:lnTo>
                    <a:lnTo>
                      <a:pt x="1832" y="1208"/>
                    </a:lnTo>
                    <a:lnTo>
                      <a:pt x="1847" y="1337"/>
                    </a:lnTo>
                    <a:lnTo>
                      <a:pt x="1979" y="1477"/>
                    </a:lnTo>
                    <a:lnTo>
                      <a:pt x="2127" y="1592"/>
                    </a:lnTo>
                    <a:lnTo>
                      <a:pt x="2363" y="1567"/>
                    </a:lnTo>
                    <a:lnTo>
                      <a:pt x="2378" y="1682"/>
                    </a:lnTo>
                    <a:lnTo>
                      <a:pt x="2344" y="1805"/>
                    </a:lnTo>
                    <a:lnTo>
                      <a:pt x="2200" y="1816"/>
                    </a:lnTo>
                    <a:lnTo>
                      <a:pt x="2137" y="1906"/>
                    </a:lnTo>
                    <a:lnTo>
                      <a:pt x="2122" y="2076"/>
                    </a:lnTo>
                    <a:lnTo>
                      <a:pt x="2009" y="2146"/>
                    </a:lnTo>
                    <a:lnTo>
                      <a:pt x="2137" y="2279"/>
                    </a:lnTo>
                    <a:lnTo>
                      <a:pt x="2172" y="2429"/>
                    </a:lnTo>
                    <a:lnTo>
                      <a:pt x="2314" y="2464"/>
                    </a:lnTo>
                    <a:lnTo>
                      <a:pt x="2245" y="2579"/>
                    </a:lnTo>
                    <a:lnTo>
                      <a:pt x="2314" y="2674"/>
                    </a:lnTo>
                    <a:lnTo>
                      <a:pt x="2373" y="2803"/>
                    </a:lnTo>
                    <a:lnTo>
                      <a:pt x="2497" y="2823"/>
                    </a:lnTo>
                    <a:lnTo>
                      <a:pt x="2557" y="2876"/>
                    </a:lnTo>
                    <a:lnTo>
                      <a:pt x="2618" y="2931"/>
                    </a:lnTo>
                    <a:lnTo>
                      <a:pt x="2377" y="3108"/>
                    </a:lnTo>
                    <a:lnTo>
                      <a:pt x="2230" y="3464"/>
                    </a:lnTo>
                    <a:lnTo>
                      <a:pt x="2304" y="3582"/>
                    </a:lnTo>
                    <a:lnTo>
                      <a:pt x="2418" y="3582"/>
                    </a:lnTo>
                    <a:lnTo>
                      <a:pt x="2490" y="3626"/>
                    </a:lnTo>
                    <a:lnTo>
                      <a:pt x="2388" y="3716"/>
                    </a:lnTo>
                    <a:lnTo>
                      <a:pt x="2479" y="3746"/>
                    </a:lnTo>
                    <a:lnTo>
                      <a:pt x="2283" y="3960"/>
                    </a:lnTo>
                    <a:lnTo>
                      <a:pt x="2392" y="4140"/>
                    </a:lnTo>
                    <a:lnTo>
                      <a:pt x="2374" y="4271"/>
                    </a:lnTo>
                    <a:lnTo>
                      <a:pt x="2213" y="4274"/>
                    </a:lnTo>
                    <a:lnTo>
                      <a:pt x="2002" y="4410"/>
                    </a:lnTo>
                    <a:lnTo>
                      <a:pt x="1625" y="4515"/>
                    </a:lnTo>
                    <a:lnTo>
                      <a:pt x="1384" y="4515"/>
                    </a:lnTo>
                    <a:lnTo>
                      <a:pt x="1354" y="4390"/>
                    </a:lnTo>
                    <a:lnTo>
                      <a:pt x="1133" y="4390"/>
                    </a:lnTo>
                    <a:lnTo>
                      <a:pt x="1019" y="4480"/>
                    </a:lnTo>
                    <a:lnTo>
                      <a:pt x="969" y="4393"/>
                    </a:lnTo>
                    <a:lnTo>
                      <a:pt x="960" y="4211"/>
                    </a:lnTo>
                    <a:lnTo>
                      <a:pt x="897" y="4109"/>
                    </a:lnTo>
                    <a:lnTo>
                      <a:pt x="778" y="4261"/>
                    </a:lnTo>
                    <a:lnTo>
                      <a:pt x="763" y="4410"/>
                    </a:lnTo>
                    <a:lnTo>
                      <a:pt x="623" y="4462"/>
                    </a:lnTo>
                    <a:lnTo>
                      <a:pt x="540" y="4363"/>
                    </a:lnTo>
                    <a:lnTo>
                      <a:pt x="221" y="4285"/>
                    </a:lnTo>
                    <a:lnTo>
                      <a:pt x="202" y="4178"/>
                    </a:lnTo>
                    <a:lnTo>
                      <a:pt x="136" y="4126"/>
                    </a:lnTo>
                    <a:lnTo>
                      <a:pt x="118" y="4290"/>
                    </a:lnTo>
                    <a:lnTo>
                      <a:pt x="0" y="4182"/>
                    </a:lnTo>
                    <a:lnTo>
                      <a:pt x="54" y="4000"/>
                    </a:lnTo>
                    <a:lnTo>
                      <a:pt x="10" y="3467"/>
                    </a:lnTo>
                    <a:lnTo>
                      <a:pt x="188" y="2848"/>
                    </a:lnTo>
                    <a:lnTo>
                      <a:pt x="325" y="2599"/>
                    </a:lnTo>
                    <a:lnTo>
                      <a:pt x="409" y="2309"/>
                    </a:lnTo>
                    <a:lnTo>
                      <a:pt x="561" y="2116"/>
                    </a:lnTo>
                    <a:lnTo>
                      <a:pt x="704" y="2011"/>
                    </a:lnTo>
                    <a:lnTo>
                      <a:pt x="925" y="1562"/>
                    </a:lnTo>
                    <a:lnTo>
                      <a:pt x="813" y="1352"/>
                    </a:lnTo>
                    <a:lnTo>
                      <a:pt x="881" y="1148"/>
                    </a:lnTo>
                    <a:lnTo>
                      <a:pt x="886" y="968"/>
                    </a:lnTo>
                    <a:lnTo>
                      <a:pt x="1118" y="873"/>
                    </a:lnTo>
                    <a:lnTo>
                      <a:pt x="1428" y="474"/>
                    </a:lnTo>
                    <a:lnTo>
                      <a:pt x="1413" y="339"/>
                    </a:lnTo>
                    <a:lnTo>
                      <a:pt x="1487" y="259"/>
                    </a:lnTo>
                    <a:lnTo>
                      <a:pt x="1384" y="145"/>
                    </a:lnTo>
                    <a:lnTo>
                      <a:pt x="1166" y="110"/>
                    </a:lnTo>
                    <a:lnTo>
                      <a:pt x="1344"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9" name="Freeform 41">
                <a:extLst>
                  <a:ext uri="{FF2B5EF4-FFF2-40B4-BE49-F238E27FC236}">
                    <a16:creationId xmlns:a16="http://schemas.microsoft.com/office/drawing/2014/main" id="{C27C9A5A-29A5-4E93-9A46-41C9C8267B86}"/>
                  </a:ext>
                </a:extLst>
              </p:cNvPr>
              <p:cNvSpPr>
                <a:spLocks/>
              </p:cNvSpPr>
              <p:nvPr/>
            </p:nvSpPr>
            <p:spPr bwMode="auto">
              <a:xfrm>
                <a:off x="2355" y="1327"/>
                <a:ext cx="544" cy="756"/>
              </a:xfrm>
              <a:custGeom>
                <a:avLst/>
                <a:gdLst/>
                <a:ahLst/>
                <a:cxnLst>
                  <a:cxn ang="0">
                    <a:pos x="1491" y="74"/>
                  </a:cxn>
                  <a:cxn ang="0">
                    <a:pos x="1737" y="313"/>
                  </a:cxn>
                  <a:cxn ang="0">
                    <a:pos x="2062" y="328"/>
                  </a:cxn>
                  <a:cxn ang="0">
                    <a:pos x="2106" y="613"/>
                  </a:cxn>
                  <a:cxn ang="0">
                    <a:pos x="2314" y="713"/>
                  </a:cxn>
                  <a:cxn ang="0">
                    <a:pos x="2299" y="936"/>
                  </a:cxn>
                  <a:cxn ang="0">
                    <a:pos x="2525" y="836"/>
                  </a:cxn>
                  <a:cxn ang="0">
                    <a:pos x="2875" y="718"/>
                  </a:cxn>
                  <a:cxn ang="0">
                    <a:pos x="3480" y="926"/>
                  </a:cxn>
                  <a:cxn ang="0">
                    <a:pos x="3617" y="1075"/>
                  </a:cxn>
                  <a:cxn ang="0">
                    <a:pos x="3214" y="1315"/>
                  </a:cxn>
                  <a:cxn ang="0">
                    <a:pos x="2939" y="1792"/>
                  </a:cxn>
                  <a:cxn ang="0">
                    <a:pos x="2964" y="2109"/>
                  </a:cxn>
                  <a:cxn ang="0">
                    <a:pos x="2924" y="2470"/>
                  </a:cxn>
                  <a:cxn ang="0">
                    <a:pos x="2905" y="2806"/>
                  </a:cxn>
                  <a:cxn ang="0">
                    <a:pos x="2991" y="3092"/>
                  </a:cxn>
                  <a:cxn ang="0">
                    <a:pos x="2526" y="3109"/>
                  </a:cxn>
                  <a:cxn ang="0">
                    <a:pos x="2185" y="3333"/>
                  </a:cxn>
                  <a:cxn ang="0">
                    <a:pos x="1726" y="3553"/>
                  </a:cxn>
                  <a:cxn ang="0">
                    <a:pos x="1532" y="3739"/>
                  </a:cxn>
                  <a:cxn ang="0">
                    <a:pos x="1294" y="4271"/>
                  </a:cxn>
                  <a:cxn ang="0">
                    <a:pos x="1339" y="4883"/>
                  </a:cxn>
                  <a:cxn ang="0">
                    <a:pos x="1156" y="5069"/>
                  </a:cxn>
                  <a:cxn ang="0">
                    <a:pos x="969" y="4918"/>
                  </a:cxn>
                  <a:cxn ang="0">
                    <a:pos x="969" y="4707"/>
                  </a:cxn>
                  <a:cxn ang="0">
                    <a:pos x="793" y="4522"/>
                  </a:cxn>
                  <a:cxn ang="0">
                    <a:pos x="777" y="4317"/>
                  </a:cxn>
                  <a:cxn ang="0">
                    <a:pos x="857" y="4061"/>
                  </a:cxn>
                  <a:cxn ang="0">
                    <a:pos x="1033" y="3927"/>
                  </a:cxn>
                  <a:cxn ang="0">
                    <a:pos x="784" y="3836"/>
                  </a:cxn>
                  <a:cxn ang="0">
                    <a:pos x="503" y="3583"/>
                  </a:cxn>
                  <a:cxn ang="0">
                    <a:pos x="369" y="3407"/>
                  </a:cxn>
                  <a:cxn ang="0">
                    <a:pos x="501" y="3034"/>
                  </a:cxn>
                  <a:cxn ang="0">
                    <a:pos x="544" y="2792"/>
                  </a:cxn>
                  <a:cxn ang="0">
                    <a:pos x="525" y="2431"/>
                  </a:cxn>
                  <a:cxn ang="0">
                    <a:pos x="250" y="2283"/>
                  </a:cxn>
                  <a:cxn ang="0">
                    <a:pos x="0" y="2248"/>
                  </a:cxn>
                  <a:cxn ang="0">
                    <a:pos x="575" y="1759"/>
                  </a:cxn>
                  <a:cxn ang="0">
                    <a:pos x="955" y="1161"/>
                  </a:cxn>
                  <a:cxn ang="0">
                    <a:pos x="1295" y="0"/>
                  </a:cxn>
                </a:cxnLst>
                <a:rect l="0" t="0" r="r" b="b"/>
                <a:pathLst>
                  <a:path w="3633" h="5119">
                    <a:moveTo>
                      <a:pt x="1295" y="0"/>
                    </a:moveTo>
                    <a:lnTo>
                      <a:pt x="1491" y="74"/>
                    </a:lnTo>
                    <a:lnTo>
                      <a:pt x="1683" y="194"/>
                    </a:lnTo>
                    <a:lnTo>
                      <a:pt x="1737" y="313"/>
                    </a:lnTo>
                    <a:lnTo>
                      <a:pt x="1860" y="209"/>
                    </a:lnTo>
                    <a:lnTo>
                      <a:pt x="2062" y="328"/>
                    </a:lnTo>
                    <a:lnTo>
                      <a:pt x="2195" y="503"/>
                    </a:lnTo>
                    <a:lnTo>
                      <a:pt x="2106" y="613"/>
                    </a:lnTo>
                    <a:lnTo>
                      <a:pt x="2225" y="608"/>
                    </a:lnTo>
                    <a:lnTo>
                      <a:pt x="2314" y="713"/>
                    </a:lnTo>
                    <a:lnTo>
                      <a:pt x="2431" y="776"/>
                    </a:lnTo>
                    <a:lnTo>
                      <a:pt x="2299" y="936"/>
                    </a:lnTo>
                    <a:lnTo>
                      <a:pt x="2377" y="956"/>
                    </a:lnTo>
                    <a:lnTo>
                      <a:pt x="2525" y="836"/>
                    </a:lnTo>
                    <a:lnTo>
                      <a:pt x="2756" y="763"/>
                    </a:lnTo>
                    <a:lnTo>
                      <a:pt x="2875" y="718"/>
                    </a:lnTo>
                    <a:lnTo>
                      <a:pt x="3318" y="926"/>
                    </a:lnTo>
                    <a:lnTo>
                      <a:pt x="3480" y="926"/>
                    </a:lnTo>
                    <a:lnTo>
                      <a:pt x="3633" y="926"/>
                    </a:lnTo>
                    <a:lnTo>
                      <a:pt x="3617" y="1075"/>
                    </a:lnTo>
                    <a:lnTo>
                      <a:pt x="3382" y="1285"/>
                    </a:lnTo>
                    <a:lnTo>
                      <a:pt x="3214" y="1315"/>
                    </a:lnTo>
                    <a:lnTo>
                      <a:pt x="3129" y="1513"/>
                    </a:lnTo>
                    <a:lnTo>
                      <a:pt x="2939" y="1792"/>
                    </a:lnTo>
                    <a:lnTo>
                      <a:pt x="3013" y="1899"/>
                    </a:lnTo>
                    <a:lnTo>
                      <a:pt x="2964" y="2109"/>
                    </a:lnTo>
                    <a:lnTo>
                      <a:pt x="3051" y="2256"/>
                    </a:lnTo>
                    <a:lnTo>
                      <a:pt x="2924" y="2470"/>
                    </a:lnTo>
                    <a:lnTo>
                      <a:pt x="2878" y="2641"/>
                    </a:lnTo>
                    <a:lnTo>
                      <a:pt x="2905" y="2806"/>
                    </a:lnTo>
                    <a:lnTo>
                      <a:pt x="3009" y="2912"/>
                    </a:lnTo>
                    <a:lnTo>
                      <a:pt x="2991" y="3092"/>
                    </a:lnTo>
                    <a:lnTo>
                      <a:pt x="2658" y="3184"/>
                    </a:lnTo>
                    <a:lnTo>
                      <a:pt x="2526" y="3109"/>
                    </a:lnTo>
                    <a:lnTo>
                      <a:pt x="2352" y="3152"/>
                    </a:lnTo>
                    <a:lnTo>
                      <a:pt x="2185" y="3333"/>
                    </a:lnTo>
                    <a:lnTo>
                      <a:pt x="1877" y="3544"/>
                    </a:lnTo>
                    <a:lnTo>
                      <a:pt x="1726" y="3553"/>
                    </a:lnTo>
                    <a:lnTo>
                      <a:pt x="1592" y="3624"/>
                    </a:lnTo>
                    <a:lnTo>
                      <a:pt x="1532" y="3739"/>
                    </a:lnTo>
                    <a:lnTo>
                      <a:pt x="1464" y="3967"/>
                    </a:lnTo>
                    <a:lnTo>
                      <a:pt x="1294" y="4271"/>
                    </a:lnTo>
                    <a:lnTo>
                      <a:pt x="1328" y="4564"/>
                    </a:lnTo>
                    <a:lnTo>
                      <a:pt x="1339" y="4883"/>
                    </a:lnTo>
                    <a:lnTo>
                      <a:pt x="1208" y="5119"/>
                    </a:lnTo>
                    <a:lnTo>
                      <a:pt x="1156" y="5069"/>
                    </a:lnTo>
                    <a:lnTo>
                      <a:pt x="1028" y="5047"/>
                    </a:lnTo>
                    <a:lnTo>
                      <a:pt x="969" y="4918"/>
                    </a:lnTo>
                    <a:lnTo>
                      <a:pt x="900" y="4824"/>
                    </a:lnTo>
                    <a:lnTo>
                      <a:pt x="969" y="4707"/>
                    </a:lnTo>
                    <a:lnTo>
                      <a:pt x="825" y="4672"/>
                    </a:lnTo>
                    <a:lnTo>
                      <a:pt x="793" y="4522"/>
                    </a:lnTo>
                    <a:lnTo>
                      <a:pt x="665" y="4391"/>
                    </a:lnTo>
                    <a:lnTo>
                      <a:pt x="777" y="4317"/>
                    </a:lnTo>
                    <a:lnTo>
                      <a:pt x="792" y="4146"/>
                    </a:lnTo>
                    <a:lnTo>
                      <a:pt x="857" y="4061"/>
                    </a:lnTo>
                    <a:lnTo>
                      <a:pt x="1002" y="4050"/>
                    </a:lnTo>
                    <a:lnTo>
                      <a:pt x="1033" y="3927"/>
                    </a:lnTo>
                    <a:lnTo>
                      <a:pt x="1020" y="3811"/>
                    </a:lnTo>
                    <a:lnTo>
                      <a:pt x="784" y="3836"/>
                    </a:lnTo>
                    <a:lnTo>
                      <a:pt x="647" y="3731"/>
                    </a:lnTo>
                    <a:lnTo>
                      <a:pt x="503" y="3583"/>
                    </a:lnTo>
                    <a:lnTo>
                      <a:pt x="485" y="3454"/>
                    </a:lnTo>
                    <a:lnTo>
                      <a:pt x="369" y="3407"/>
                    </a:lnTo>
                    <a:lnTo>
                      <a:pt x="473" y="3268"/>
                    </a:lnTo>
                    <a:lnTo>
                      <a:pt x="501" y="3034"/>
                    </a:lnTo>
                    <a:lnTo>
                      <a:pt x="590" y="2911"/>
                    </a:lnTo>
                    <a:lnTo>
                      <a:pt x="544" y="2792"/>
                    </a:lnTo>
                    <a:lnTo>
                      <a:pt x="515" y="2611"/>
                    </a:lnTo>
                    <a:lnTo>
                      <a:pt x="525" y="2431"/>
                    </a:lnTo>
                    <a:lnTo>
                      <a:pt x="378" y="2356"/>
                    </a:lnTo>
                    <a:lnTo>
                      <a:pt x="250" y="2283"/>
                    </a:lnTo>
                    <a:lnTo>
                      <a:pt x="143" y="2310"/>
                    </a:lnTo>
                    <a:lnTo>
                      <a:pt x="0" y="2248"/>
                    </a:lnTo>
                    <a:lnTo>
                      <a:pt x="378" y="1913"/>
                    </a:lnTo>
                    <a:lnTo>
                      <a:pt x="575" y="1759"/>
                    </a:lnTo>
                    <a:lnTo>
                      <a:pt x="807" y="1325"/>
                    </a:lnTo>
                    <a:lnTo>
                      <a:pt x="955" y="1161"/>
                    </a:lnTo>
                    <a:lnTo>
                      <a:pt x="1195" y="517"/>
                    </a:lnTo>
                    <a:lnTo>
                      <a:pt x="1295"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0" name="Freeform 42">
                <a:extLst>
                  <a:ext uri="{FF2B5EF4-FFF2-40B4-BE49-F238E27FC236}">
                    <a16:creationId xmlns:a16="http://schemas.microsoft.com/office/drawing/2014/main" id="{AA46EB47-6BF2-47DA-8619-F70C48E2E9F8}"/>
                  </a:ext>
                </a:extLst>
              </p:cNvPr>
              <p:cNvSpPr>
                <a:spLocks/>
              </p:cNvSpPr>
              <p:nvPr/>
            </p:nvSpPr>
            <p:spPr bwMode="auto">
              <a:xfrm>
                <a:off x="2536" y="1463"/>
                <a:ext cx="464" cy="672"/>
              </a:xfrm>
              <a:custGeom>
                <a:avLst/>
                <a:gdLst/>
                <a:ahLst/>
                <a:cxnLst>
                  <a:cxn ang="0">
                    <a:pos x="2005" y="20"/>
                  </a:cxn>
                  <a:cxn ang="0">
                    <a:pos x="2163" y="95"/>
                  </a:cxn>
                  <a:cxn ang="0">
                    <a:pos x="2116" y="439"/>
                  </a:cxn>
                  <a:cxn ang="0">
                    <a:pos x="2246" y="694"/>
                  </a:cxn>
                  <a:cxn ang="0">
                    <a:pos x="2269" y="1289"/>
                  </a:cxn>
                  <a:cxn ang="0">
                    <a:pos x="2477" y="1839"/>
                  </a:cxn>
                  <a:cxn ang="0">
                    <a:pos x="2375" y="2090"/>
                  </a:cxn>
                  <a:cxn ang="0">
                    <a:pos x="2393" y="2402"/>
                  </a:cxn>
                  <a:cxn ang="0">
                    <a:pos x="2196" y="2537"/>
                  </a:cxn>
                  <a:cxn ang="0">
                    <a:pos x="1828" y="2921"/>
                  </a:cxn>
                  <a:cxn ang="0">
                    <a:pos x="1584" y="2945"/>
                  </a:cxn>
                  <a:cxn ang="0">
                    <a:pos x="1281" y="2970"/>
                  </a:cxn>
                  <a:cxn ang="0">
                    <a:pos x="1119" y="2953"/>
                  </a:cxn>
                  <a:cxn ang="0">
                    <a:pos x="939" y="3006"/>
                  </a:cxn>
                  <a:cxn ang="0">
                    <a:pos x="1001" y="3276"/>
                  </a:cxn>
                  <a:cxn ang="0">
                    <a:pos x="804" y="3539"/>
                  </a:cxn>
                  <a:cxn ang="0">
                    <a:pos x="576" y="3575"/>
                  </a:cxn>
                  <a:cxn ang="0">
                    <a:pos x="316" y="3599"/>
                  </a:cxn>
                  <a:cxn ang="0">
                    <a:pos x="197" y="3389"/>
                  </a:cxn>
                  <a:cxn ang="0">
                    <a:pos x="0" y="3356"/>
                  </a:cxn>
                  <a:cxn ang="0">
                    <a:pos x="96" y="2921"/>
                  </a:cxn>
                  <a:cxn ang="0">
                    <a:pos x="202" y="2438"/>
                  </a:cxn>
                  <a:cxn ang="0">
                    <a:pos x="304" y="2163"/>
                  </a:cxn>
                  <a:cxn ang="0">
                    <a:pos x="533" y="2095"/>
                  </a:cxn>
                  <a:cxn ang="0">
                    <a:pos x="911" y="1784"/>
                  </a:cxn>
                  <a:cxn ang="0">
                    <a:pos x="1159" y="1808"/>
                  </a:cxn>
                  <a:cxn ang="0">
                    <a:pos x="1438" y="1588"/>
                  </a:cxn>
                  <a:cxn ang="0">
                    <a:pos x="1336" y="1373"/>
                  </a:cxn>
                  <a:cxn ang="0">
                    <a:pos x="1474" y="1065"/>
                  </a:cxn>
                  <a:cxn ang="0">
                    <a:pos x="1442" y="778"/>
                  </a:cxn>
                  <a:cxn ang="0">
                    <a:pos x="1537" y="467"/>
                  </a:cxn>
                  <a:cxn ang="0">
                    <a:pos x="1738" y="287"/>
                  </a:cxn>
                  <a:cxn ang="0">
                    <a:pos x="1938" y="0"/>
                  </a:cxn>
                </a:cxnLst>
                <a:rect l="0" t="0" r="r" b="b"/>
                <a:pathLst>
                  <a:path w="2477" h="3635">
                    <a:moveTo>
                      <a:pt x="1938" y="0"/>
                    </a:moveTo>
                    <a:lnTo>
                      <a:pt x="2005" y="20"/>
                    </a:lnTo>
                    <a:lnTo>
                      <a:pt x="2076" y="84"/>
                    </a:lnTo>
                    <a:lnTo>
                      <a:pt x="2163" y="95"/>
                    </a:lnTo>
                    <a:lnTo>
                      <a:pt x="2087" y="287"/>
                    </a:lnTo>
                    <a:lnTo>
                      <a:pt x="2116" y="439"/>
                    </a:lnTo>
                    <a:lnTo>
                      <a:pt x="2174" y="588"/>
                    </a:lnTo>
                    <a:lnTo>
                      <a:pt x="2246" y="694"/>
                    </a:lnTo>
                    <a:lnTo>
                      <a:pt x="2171" y="810"/>
                    </a:lnTo>
                    <a:lnTo>
                      <a:pt x="2269" y="1289"/>
                    </a:lnTo>
                    <a:lnTo>
                      <a:pt x="2325" y="1653"/>
                    </a:lnTo>
                    <a:lnTo>
                      <a:pt x="2477" y="1839"/>
                    </a:lnTo>
                    <a:lnTo>
                      <a:pt x="2400" y="1950"/>
                    </a:lnTo>
                    <a:lnTo>
                      <a:pt x="2375" y="2090"/>
                    </a:lnTo>
                    <a:lnTo>
                      <a:pt x="2340" y="2234"/>
                    </a:lnTo>
                    <a:lnTo>
                      <a:pt x="2393" y="2402"/>
                    </a:lnTo>
                    <a:lnTo>
                      <a:pt x="2324" y="2478"/>
                    </a:lnTo>
                    <a:lnTo>
                      <a:pt x="2196" y="2537"/>
                    </a:lnTo>
                    <a:lnTo>
                      <a:pt x="2041" y="2681"/>
                    </a:lnTo>
                    <a:lnTo>
                      <a:pt x="1828" y="2921"/>
                    </a:lnTo>
                    <a:lnTo>
                      <a:pt x="1734" y="2909"/>
                    </a:lnTo>
                    <a:lnTo>
                      <a:pt x="1584" y="2945"/>
                    </a:lnTo>
                    <a:lnTo>
                      <a:pt x="1413" y="3048"/>
                    </a:lnTo>
                    <a:lnTo>
                      <a:pt x="1281" y="2970"/>
                    </a:lnTo>
                    <a:lnTo>
                      <a:pt x="1194" y="3003"/>
                    </a:lnTo>
                    <a:lnTo>
                      <a:pt x="1119" y="2953"/>
                    </a:lnTo>
                    <a:lnTo>
                      <a:pt x="1029" y="2952"/>
                    </a:lnTo>
                    <a:lnTo>
                      <a:pt x="939" y="3006"/>
                    </a:lnTo>
                    <a:lnTo>
                      <a:pt x="1002" y="3123"/>
                    </a:lnTo>
                    <a:lnTo>
                      <a:pt x="1001" y="3276"/>
                    </a:lnTo>
                    <a:lnTo>
                      <a:pt x="946" y="3376"/>
                    </a:lnTo>
                    <a:lnTo>
                      <a:pt x="804" y="3539"/>
                    </a:lnTo>
                    <a:lnTo>
                      <a:pt x="674" y="3495"/>
                    </a:lnTo>
                    <a:lnTo>
                      <a:pt x="576" y="3575"/>
                    </a:lnTo>
                    <a:lnTo>
                      <a:pt x="438" y="3635"/>
                    </a:lnTo>
                    <a:lnTo>
                      <a:pt x="316" y="3599"/>
                    </a:lnTo>
                    <a:lnTo>
                      <a:pt x="245" y="3519"/>
                    </a:lnTo>
                    <a:lnTo>
                      <a:pt x="197" y="3389"/>
                    </a:lnTo>
                    <a:lnTo>
                      <a:pt x="51" y="3401"/>
                    </a:lnTo>
                    <a:lnTo>
                      <a:pt x="0" y="3356"/>
                    </a:lnTo>
                    <a:lnTo>
                      <a:pt x="103" y="3168"/>
                    </a:lnTo>
                    <a:lnTo>
                      <a:pt x="96" y="2921"/>
                    </a:lnTo>
                    <a:lnTo>
                      <a:pt x="68" y="2681"/>
                    </a:lnTo>
                    <a:lnTo>
                      <a:pt x="202" y="2438"/>
                    </a:lnTo>
                    <a:lnTo>
                      <a:pt x="257" y="2250"/>
                    </a:lnTo>
                    <a:lnTo>
                      <a:pt x="304" y="2163"/>
                    </a:lnTo>
                    <a:lnTo>
                      <a:pt x="411" y="2103"/>
                    </a:lnTo>
                    <a:lnTo>
                      <a:pt x="533" y="2095"/>
                    </a:lnTo>
                    <a:lnTo>
                      <a:pt x="781" y="1927"/>
                    </a:lnTo>
                    <a:lnTo>
                      <a:pt x="911" y="1784"/>
                    </a:lnTo>
                    <a:lnTo>
                      <a:pt x="1052" y="1748"/>
                    </a:lnTo>
                    <a:lnTo>
                      <a:pt x="1159" y="1808"/>
                    </a:lnTo>
                    <a:lnTo>
                      <a:pt x="1427" y="1732"/>
                    </a:lnTo>
                    <a:lnTo>
                      <a:pt x="1438" y="1588"/>
                    </a:lnTo>
                    <a:lnTo>
                      <a:pt x="1356" y="1504"/>
                    </a:lnTo>
                    <a:lnTo>
                      <a:pt x="1336" y="1373"/>
                    </a:lnTo>
                    <a:lnTo>
                      <a:pt x="1371" y="1233"/>
                    </a:lnTo>
                    <a:lnTo>
                      <a:pt x="1474" y="1065"/>
                    </a:lnTo>
                    <a:lnTo>
                      <a:pt x="1403" y="946"/>
                    </a:lnTo>
                    <a:lnTo>
                      <a:pt x="1442" y="778"/>
                    </a:lnTo>
                    <a:lnTo>
                      <a:pt x="1383" y="694"/>
                    </a:lnTo>
                    <a:lnTo>
                      <a:pt x="1537" y="467"/>
                    </a:lnTo>
                    <a:lnTo>
                      <a:pt x="1604" y="311"/>
                    </a:lnTo>
                    <a:lnTo>
                      <a:pt x="1738" y="287"/>
                    </a:lnTo>
                    <a:lnTo>
                      <a:pt x="1923" y="120"/>
                    </a:lnTo>
                    <a:lnTo>
                      <a:pt x="1938"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1" name="Freeform 43">
                <a:extLst>
                  <a:ext uri="{FF2B5EF4-FFF2-40B4-BE49-F238E27FC236}">
                    <a16:creationId xmlns:a16="http://schemas.microsoft.com/office/drawing/2014/main" id="{EFC668B1-00F9-4E81-ABDD-5DBEF2691EE1}"/>
                  </a:ext>
                </a:extLst>
              </p:cNvPr>
              <p:cNvSpPr>
                <a:spLocks/>
              </p:cNvSpPr>
              <p:nvPr/>
            </p:nvSpPr>
            <p:spPr bwMode="auto">
              <a:xfrm>
                <a:off x="2927" y="1466"/>
                <a:ext cx="336" cy="428"/>
              </a:xfrm>
              <a:custGeom>
                <a:avLst/>
                <a:gdLst/>
                <a:ahLst/>
                <a:cxnLst>
                  <a:cxn ang="0">
                    <a:pos x="75" y="84"/>
                  </a:cxn>
                  <a:cxn ang="0">
                    <a:pos x="260" y="60"/>
                  </a:cxn>
                  <a:cxn ang="0">
                    <a:pos x="531" y="0"/>
                  </a:cxn>
                  <a:cxn ang="0">
                    <a:pos x="827" y="140"/>
                  </a:cxn>
                  <a:cxn ang="0">
                    <a:pos x="1268" y="439"/>
                  </a:cxn>
                  <a:cxn ang="0">
                    <a:pos x="1417" y="634"/>
                  </a:cxn>
                  <a:cxn ang="0">
                    <a:pos x="1575" y="810"/>
                  </a:cxn>
                  <a:cxn ang="0">
                    <a:pos x="1740" y="870"/>
                  </a:cxn>
                  <a:cxn ang="0">
                    <a:pos x="1795" y="958"/>
                  </a:cxn>
                  <a:cxn ang="0">
                    <a:pos x="1728" y="993"/>
                  </a:cxn>
                  <a:cxn ang="0">
                    <a:pos x="1618" y="981"/>
                  </a:cxn>
                  <a:cxn ang="0">
                    <a:pos x="1527" y="1113"/>
                  </a:cxn>
                  <a:cxn ang="0">
                    <a:pos x="1417" y="1293"/>
                  </a:cxn>
                  <a:cxn ang="0">
                    <a:pos x="1291" y="1492"/>
                  </a:cxn>
                  <a:cxn ang="0">
                    <a:pos x="1197" y="1508"/>
                  </a:cxn>
                  <a:cxn ang="0">
                    <a:pos x="1175" y="1638"/>
                  </a:cxn>
                  <a:cxn ang="0">
                    <a:pos x="1145" y="1803"/>
                  </a:cxn>
                  <a:cxn ang="0">
                    <a:pos x="1079" y="1867"/>
                  </a:cxn>
                  <a:cxn ang="0">
                    <a:pos x="1127" y="2046"/>
                  </a:cxn>
                  <a:cxn ang="0">
                    <a:pos x="1113" y="2210"/>
                  </a:cxn>
                  <a:cxn ang="0">
                    <a:pos x="1020" y="2234"/>
                  </a:cxn>
                  <a:cxn ang="0">
                    <a:pos x="968" y="2318"/>
                  </a:cxn>
                  <a:cxn ang="0">
                    <a:pos x="724" y="2091"/>
                  </a:cxn>
                  <a:cxn ang="0">
                    <a:pos x="606" y="2071"/>
                  </a:cxn>
                  <a:cxn ang="0">
                    <a:pos x="441" y="2115"/>
                  </a:cxn>
                  <a:cxn ang="0">
                    <a:pos x="287" y="2079"/>
                  </a:cxn>
                  <a:cxn ang="0">
                    <a:pos x="311" y="1939"/>
                  </a:cxn>
                  <a:cxn ang="0">
                    <a:pos x="390" y="1827"/>
                  </a:cxn>
                  <a:cxn ang="0">
                    <a:pos x="236" y="1640"/>
                  </a:cxn>
                  <a:cxn ang="0">
                    <a:pos x="181" y="1277"/>
                  </a:cxn>
                  <a:cxn ang="0">
                    <a:pos x="83" y="798"/>
                  </a:cxn>
                  <a:cxn ang="0">
                    <a:pos x="157" y="682"/>
                  </a:cxn>
                  <a:cxn ang="0">
                    <a:pos x="87" y="575"/>
                  </a:cxn>
                  <a:cxn ang="0">
                    <a:pos x="28" y="431"/>
                  </a:cxn>
                  <a:cxn ang="0">
                    <a:pos x="0" y="275"/>
                  </a:cxn>
                  <a:cxn ang="0">
                    <a:pos x="75" y="84"/>
                  </a:cxn>
                </a:cxnLst>
                <a:rect l="0" t="0" r="r" b="b"/>
                <a:pathLst>
                  <a:path w="1795" h="2318">
                    <a:moveTo>
                      <a:pt x="75" y="84"/>
                    </a:moveTo>
                    <a:lnTo>
                      <a:pt x="260" y="60"/>
                    </a:lnTo>
                    <a:lnTo>
                      <a:pt x="531" y="0"/>
                    </a:lnTo>
                    <a:lnTo>
                      <a:pt x="827" y="140"/>
                    </a:lnTo>
                    <a:lnTo>
                      <a:pt x="1268" y="439"/>
                    </a:lnTo>
                    <a:lnTo>
                      <a:pt x="1417" y="634"/>
                    </a:lnTo>
                    <a:lnTo>
                      <a:pt x="1575" y="810"/>
                    </a:lnTo>
                    <a:lnTo>
                      <a:pt x="1740" y="870"/>
                    </a:lnTo>
                    <a:lnTo>
                      <a:pt x="1795" y="958"/>
                    </a:lnTo>
                    <a:lnTo>
                      <a:pt x="1728" y="993"/>
                    </a:lnTo>
                    <a:lnTo>
                      <a:pt x="1618" y="981"/>
                    </a:lnTo>
                    <a:lnTo>
                      <a:pt x="1527" y="1113"/>
                    </a:lnTo>
                    <a:lnTo>
                      <a:pt x="1417" y="1293"/>
                    </a:lnTo>
                    <a:lnTo>
                      <a:pt x="1291" y="1492"/>
                    </a:lnTo>
                    <a:lnTo>
                      <a:pt x="1197" y="1508"/>
                    </a:lnTo>
                    <a:lnTo>
                      <a:pt x="1175" y="1638"/>
                    </a:lnTo>
                    <a:lnTo>
                      <a:pt x="1145" y="1803"/>
                    </a:lnTo>
                    <a:lnTo>
                      <a:pt x="1079" y="1867"/>
                    </a:lnTo>
                    <a:lnTo>
                      <a:pt x="1127" y="2046"/>
                    </a:lnTo>
                    <a:lnTo>
                      <a:pt x="1113" y="2210"/>
                    </a:lnTo>
                    <a:lnTo>
                      <a:pt x="1020" y="2234"/>
                    </a:lnTo>
                    <a:lnTo>
                      <a:pt x="968" y="2318"/>
                    </a:lnTo>
                    <a:lnTo>
                      <a:pt x="724" y="2091"/>
                    </a:lnTo>
                    <a:lnTo>
                      <a:pt x="606" y="2071"/>
                    </a:lnTo>
                    <a:lnTo>
                      <a:pt x="441" y="2115"/>
                    </a:lnTo>
                    <a:lnTo>
                      <a:pt x="287" y="2079"/>
                    </a:lnTo>
                    <a:lnTo>
                      <a:pt x="311" y="1939"/>
                    </a:lnTo>
                    <a:lnTo>
                      <a:pt x="390" y="1827"/>
                    </a:lnTo>
                    <a:lnTo>
                      <a:pt x="236" y="1640"/>
                    </a:lnTo>
                    <a:lnTo>
                      <a:pt x="181" y="1277"/>
                    </a:lnTo>
                    <a:lnTo>
                      <a:pt x="83" y="798"/>
                    </a:lnTo>
                    <a:lnTo>
                      <a:pt x="157" y="682"/>
                    </a:lnTo>
                    <a:lnTo>
                      <a:pt x="87" y="575"/>
                    </a:lnTo>
                    <a:lnTo>
                      <a:pt x="28" y="431"/>
                    </a:lnTo>
                    <a:lnTo>
                      <a:pt x="0" y="275"/>
                    </a:lnTo>
                    <a:lnTo>
                      <a:pt x="75" y="84"/>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2" name="Freeform 44">
                <a:extLst>
                  <a:ext uri="{FF2B5EF4-FFF2-40B4-BE49-F238E27FC236}">
                    <a16:creationId xmlns:a16="http://schemas.microsoft.com/office/drawing/2014/main" id="{CFA2E0AC-BD79-44CD-8388-12577BBE835E}"/>
                  </a:ext>
                </a:extLst>
              </p:cNvPr>
              <p:cNvSpPr>
                <a:spLocks/>
              </p:cNvSpPr>
              <p:nvPr/>
            </p:nvSpPr>
            <p:spPr bwMode="auto">
              <a:xfrm>
                <a:off x="3159" y="2042"/>
                <a:ext cx="142" cy="169"/>
              </a:xfrm>
              <a:custGeom>
                <a:avLst/>
                <a:gdLst/>
                <a:ahLst/>
                <a:cxnLst>
                  <a:cxn ang="0">
                    <a:pos x="108" y="0"/>
                  </a:cxn>
                  <a:cxn ang="0">
                    <a:pos x="220" y="5"/>
                  </a:cxn>
                  <a:cxn ang="0">
                    <a:pos x="546" y="135"/>
                  </a:cxn>
                  <a:cxn ang="0">
                    <a:pos x="723" y="289"/>
                  </a:cxn>
                  <a:cxn ang="0">
                    <a:pos x="950" y="513"/>
                  </a:cxn>
                  <a:cxn ang="0">
                    <a:pos x="678" y="673"/>
                  </a:cxn>
                  <a:cxn ang="0">
                    <a:pos x="521" y="881"/>
                  </a:cxn>
                  <a:cxn ang="0">
                    <a:pos x="413" y="1031"/>
                  </a:cxn>
                  <a:cxn ang="0">
                    <a:pos x="368" y="1148"/>
                  </a:cxn>
                  <a:cxn ang="0">
                    <a:pos x="237" y="1111"/>
                  </a:cxn>
                  <a:cxn ang="0">
                    <a:pos x="88" y="991"/>
                  </a:cxn>
                  <a:cxn ang="0">
                    <a:pos x="19" y="811"/>
                  </a:cxn>
                  <a:cxn ang="0">
                    <a:pos x="0" y="625"/>
                  </a:cxn>
                  <a:cxn ang="0">
                    <a:pos x="151" y="629"/>
                  </a:cxn>
                  <a:cxn ang="0">
                    <a:pos x="234" y="553"/>
                  </a:cxn>
                  <a:cxn ang="0">
                    <a:pos x="268" y="281"/>
                  </a:cxn>
                  <a:cxn ang="0">
                    <a:pos x="150" y="120"/>
                  </a:cxn>
                  <a:cxn ang="0">
                    <a:pos x="108" y="0"/>
                  </a:cxn>
                </a:cxnLst>
                <a:rect l="0" t="0" r="r" b="b"/>
                <a:pathLst>
                  <a:path w="950" h="1148">
                    <a:moveTo>
                      <a:pt x="108" y="0"/>
                    </a:moveTo>
                    <a:lnTo>
                      <a:pt x="220" y="5"/>
                    </a:lnTo>
                    <a:lnTo>
                      <a:pt x="546" y="135"/>
                    </a:lnTo>
                    <a:lnTo>
                      <a:pt x="723" y="289"/>
                    </a:lnTo>
                    <a:lnTo>
                      <a:pt x="950" y="513"/>
                    </a:lnTo>
                    <a:lnTo>
                      <a:pt x="678" y="673"/>
                    </a:lnTo>
                    <a:lnTo>
                      <a:pt x="521" y="881"/>
                    </a:lnTo>
                    <a:lnTo>
                      <a:pt x="413" y="1031"/>
                    </a:lnTo>
                    <a:lnTo>
                      <a:pt x="368" y="1148"/>
                    </a:lnTo>
                    <a:lnTo>
                      <a:pt x="237" y="1111"/>
                    </a:lnTo>
                    <a:lnTo>
                      <a:pt x="88" y="991"/>
                    </a:lnTo>
                    <a:lnTo>
                      <a:pt x="19" y="811"/>
                    </a:lnTo>
                    <a:lnTo>
                      <a:pt x="0" y="625"/>
                    </a:lnTo>
                    <a:lnTo>
                      <a:pt x="151" y="629"/>
                    </a:lnTo>
                    <a:lnTo>
                      <a:pt x="234" y="553"/>
                    </a:lnTo>
                    <a:lnTo>
                      <a:pt x="268" y="281"/>
                    </a:lnTo>
                    <a:lnTo>
                      <a:pt x="150" y="120"/>
                    </a:lnTo>
                    <a:lnTo>
                      <a:pt x="108"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3" name="Freeform 45">
                <a:extLst>
                  <a:ext uri="{FF2B5EF4-FFF2-40B4-BE49-F238E27FC236}">
                    <a16:creationId xmlns:a16="http://schemas.microsoft.com/office/drawing/2014/main" id="{480F13B8-8141-45E1-BDEF-233E09BF6AF7}"/>
                  </a:ext>
                </a:extLst>
              </p:cNvPr>
              <p:cNvSpPr>
                <a:spLocks/>
              </p:cNvSpPr>
              <p:nvPr/>
            </p:nvSpPr>
            <p:spPr bwMode="auto">
              <a:xfrm>
                <a:off x="3158" y="1976"/>
                <a:ext cx="254" cy="142"/>
              </a:xfrm>
              <a:custGeom>
                <a:avLst/>
                <a:gdLst/>
                <a:ahLst/>
                <a:cxnLst>
                  <a:cxn ang="0">
                    <a:pos x="1359" y="56"/>
                  </a:cxn>
                  <a:cxn ang="0">
                    <a:pos x="1225" y="24"/>
                  </a:cxn>
                  <a:cxn ang="0">
                    <a:pos x="1111" y="36"/>
                  </a:cxn>
                  <a:cxn ang="0">
                    <a:pos x="1004" y="0"/>
                  </a:cxn>
                  <a:cxn ang="0">
                    <a:pos x="882" y="128"/>
                  </a:cxn>
                  <a:cxn ang="0">
                    <a:pos x="744" y="203"/>
                  </a:cxn>
                  <a:cxn ang="0">
                    <a:pos x="516" y="188"/>
                  </a:cxn>
                  <a:cxn ang="0">
                    <a:pos x="355" y="60"/>
                  </a:cxn>
                  <a:cxn ang="0">
                    <a:pos x="236" y="0"/>
                  </a:cxn>
                  <a:cxn ang="0">
                    <a:pos x="0" y="88"/>
                  </a:cxn>
                  <a:cxn ang="0">
                    <a:pos x="95" y="355"/>
                  </a:cxn>
                  <a:cxn ang="0">
                    <a:pos x="186" y="360"/>
                  </a:cxn>
                  <a:cxn ang="0">
                    <a:pos x="444" y="463"/>
                  </a:cxn>
                  <a:cxn ang="0">
                    <a:pos x="599" y="598"/>
                  </a:cxn>
                  <a:cxn ang="0">
                    <a:pos x="768" y="766"/>
                  </a:cxn>
                  <a:cxn ang="0">
                    <a:pos x="1016" y="491"/>
                  </a:cxn>
                  <a:cxn ang="0">
                    <a:pos x="1225" y="287"/>
                  </a:cxn>
                  <a:cxn ang="0">
                    <a:pos x="1359" y="56"/>
                  </a:cxn>
                </a:cxnLst>
                <a:rect l="0" t="0" r="r" b="b"/>
                <a:pathLst>
                  <a:path w="1359" h="766">
                    <a:moveTo>
                      <a:pt x="1359" y="56"/>
                    </a:moveTo>
                    <a:lnTo>
                      <a:pt x="1225" y="24"/>
                    </a:lnTo>
                    <a:lnTo>
                      <a:pt x="1111" y="36"/>
                    </a:lnTo>
                    <a:lnTo>
                      <a:pt x="1004" y="0"/>
                    </a:lnTo>
                    <a:lnTo>
                      <a:pt x="882" y="128"/>
                    </a:lnTo>
                    <a:lnTo>
                      <a:pt x="744" y="203"/>
                    </a:lnTo>
                    <a:lnTo>
                      <a:pt x="516" y="188"/>
                    </a:lnTo>
                    <a:lnTo>
                      <a:pt x="355" y="60"/>
                    </a:lnTo>
                    <a:lnTo>
                      <a:pt x="236" y="0"/>
                    </a:lnTo>
                    <a:lnTo>
                      <a:pt x="0" y="88"/>
                    </a:lnTo>
                    <a:lnTo>
                      <a:pt x="95" y="355"/>
                    </a:lnTo>
                    <a:lnTo>
                      <a:pt x="186" y="360"/>
                    </a:lnTo>
                    <a:lnTo>
                      <a:pt x="444" y="463"/>
                    </a:lnTo>
                    <a:lnTo>
                      <a:pt x="599" y="598"/>
                    </a:lnTo>
                    <a:lnTo>
                      <a:pt x="768" y="766"/>
                    </a:lnTo>
                    <a:lnTo>
                      <a:pt x="1016" y="491"/>
                    </a:lnTo>
                    <a:lnTo>
                      <a:pt x="1225" y="287"/>
                    </a:lnTo>
                    <a:lnTo>
                      <a:pt x="1359" y="5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4" name="Freeform 46">
                <a:extLst>
                  <a:ext uri="{FF2B5EF4-FFF2-40B4-BE49-F238E27FC236}">
                    <a16:creationId xmlns:a16="http://schemas.microsoft.com/office/drawing/2014/main" id="{84792BA9-711F-4E25-AA6B-0E2F44760F3E}"/>
                  </a:ext>
                </a:extLst>
              </p:cNvPr>
              <p:cNvSpPr>
                <a:spLocks/>
              </p:cNvSpPr>
              <p:nvPr/>
            </p:nvSpPr>
            <p:spPr bwMode="auto">
              <a:xfrm>
                <a:off x="2919" y="1834"/>
                <a:ext cx="522" cy="186"/>
              </a:xfrm>
              <a:custGeom>
                <a:avLst/>
                <a:gdLst/>
                <a:ahLst/>
                <a:cxnLst>
                  <a:cxn ang="0">
                    <a:pos x="1155" y="216"/>
                  </a:cxn>
                  <a:cxn ang="0">
                    <a:pos x="1212" y="267"/>
                  </a:cxn>
                  <a:cxn ang="0">
                    <a:pos x="1296" y="242"/>
                  </a:cxn>
                  <a:cxn ang="0">
                    <a:pos x="1369" y="326"/>
                  </a:cxn>
                  <a:cxn ang="0">
                    <a:pos x="1495" y="255"/>
                  </a:cxn>
                  <a:cxn ang="0">
                    <a:pos x="1602" y="148"/>
                  </a:cxn>
                  <a:cxn ang="0">
                    <a:pos x="1736" y="52"/>
                  </a:cxn>
                  <a:cxn ang="0">
                    <a:pos x="1771" y="160"/>
                  </a:cxn>
                  <a:cxn ang="0">
                    <a:pos x="1783" y="347"/>
                  </a:cxn>
                  <a:cxn ang="0">
                    <a:pos x="1810" y="495"/>
                  </a:cxn>
                  <a:cxn ang="0">
                    <a:pos x="1944" y="479"/>
                  </a:cxn>
                  <a:cxn ang="0">
                    <a:pos x="2055" y="339"/>
                  </a:cxn>
                  <a:cxn ang="0">
                    <a:pos x="2267" y="323"/>
                  </a:cxn>
                  <a:cxn ang="0">
                    <a:pos x="2417" y="251"/>
                  </a:cxn>
                  <a:cxn ang="0">
                    <a:pos x="2523" y="136"/>
                  </a:cxn>
                  <a:cxn ang="0">
                    <a:pos x="2665" y="12"/>
                  </a:cxn>
                  <a:cxn ang="0">
                    <a:pos x="2783" y="0"/>
                  </a:cxn>
                  <a:cxn ang="0">
                    <a:pos x="2787" y="275"/>
                  </a:cxn>
                  <a:cxn ang="0">
                    <a:pos x="2775" y="483"/>
                  </a:cxn>
                  <a:cxn ang="0">
                    <a:pos x="2704" y="658"/>
                  </a:cxn>
                  <a:cxn ang="0">
                    <a:pos x="2634" y="827"/>
                  </a:cxn>
                  <a:cxn ang="0">
                    <a:pos x="2503" y="795"/>
                  </a:cxn>
                  <a:cxn ang="0">
                    <a:pos x="2385" y="806"/>
                  </a:cxn>
                  <a:cxn ang="0">
                    <a:pos x="2278" y="771"/>
                  </a:cxn>
                  <a:cxn ang="0">
                    <a:pos x="2160" y="897"/>
                  </a:cxn>
                  <a:cxn ang="0">
                    <a:pos x="2022" y="972"/>
                  </a:cxn>
                  <a:cxn ang="0">
                    <a:pos x="1791" y="959"/>
                  </a:cxn>
                  <a:cxn ang="0">
                    <a:pos x="1633" y="833"/>
                  </a:cxn>
                  <a:cxn ang="0">
                    <a:pos x="1513" y="771"/>
                  </a:cxn>
                  <a:cxn ang="0">
                    <a:pos x="1275" y="857"/>
                  </a:cxn>
                  <a:cxn ang="0">
                    <a:pos x="1168" y="863"/>
                  </a:cxn>
                  <a:cxn ang="0">
                    <a:pos x="1074" y="804"/>
                  </a:cxn>
                  <a:cxn ang="0">
                    <a:pos x="810" y="623"/>
                  </a:cxn>
                  <a:cxn ang="0">
                    <a:pos x="637" y="734"/>
                  </a:cxn>
                  <a:cxn ang="0">
                    <a:pos x="590" y="841"/>
                  </a:cxn>
                  <a:cxn ang="0">
                    <a:pos x="447" y="863"/>
                  </a:cxn>
                  <a:cxn ang="0">
                    <a:pos x="402" y="968"/>
                  </a:cxn>
                  <a:cxn ang="0">
                    <a:pos x="267" y="1009"/>
                  </a:cxn>
                  <a:cxn ang="0">
                    <a:pos x="258" y="927"/>
                  </a:cxn>
                  <a:cxn ang="0">
                    <a:pos x="184" y="849"/>
                  </a:cxn>
                  <a:cxn ang="0">
                    <a:pos x="184" y="744"/>
                  </a:cxn>
                  <a:cxn ang="0">
                    <a:pos x="0" y="671"/>
                  </a:cxn>
                  <a:cxn ang="0">
                    <a:pos x="153" y="530"/>
                  </a:cxn>
                  <a:cxn ang="0">
                    <a:pos x="279" y="471"/>
                  </a:cxn>
                  <a:cxn ang="0">
                    <a:pos x="350" y="395"/>
                  </a:cxn>
                  <a:cxn ang="0">
                    <a:pos x="294" y="231"/>
                  </a:cxn>
                  <a:cxn ang="0">
                    <a:pos x="330" y="84"/>
                  </a:cxn>
                  <a:cxn ang="0">
                    <a:pos x="483" y="120"/>
                  </a:cxn>
                  <a:cxn ang="0">
                    <a:pos x="651" y="75"/>
                  </a:cxn>
                  <a:cxn ang="0">
                    <a:pos x="769" y="95"/>
                  </a:cxn>
                  <a:cxn ang="0">
                    <a:pos x="1011" y="323"/>
                  </a:cxn>
                  <a:cxn ang="0">
                    <a:pos x="1060" y="240"/>
                  </a:cxn>
                  <a:cxn ang="0">
                    <a:pos x="1155" y="216"/>
                  </a:cxn>
                </a:cxnLst>
                <a:rect l="0" t="0" r="r" b="b"/>
                <a:pathLst>
                  <a:path w="2787" h="1009">
                    <a:moveTo>
                      <a:pt x="1155" y="216"/>
                    </a:moveTo>
                    <a:lnTo>
                      <a:pt x="1212" y="267"/>
                    </a:lnTo>
                    <a:lnTo>
                      <a:pt x="1296" y="242"/>
                    </a:lnTo>
                    <a:lnTo>
                      <a:pt x="1369" y="326"/>
                    </a:lnTo>
                    <a:lnTo>
                      <a:pt x="1495" y="255"/>
                    </a:lnTo>
                    <a:lnTo>
                      <a:pt x="1602" y="148"/>
                    </a:lnTo>
                    <a:lnTo>
                      <a:pt x="1736" y="52"/>
                    </a:lnTo>
                    <a:lnTo>
                      <a:pt x="1771" y="160"/>
                    </a:lnTo>
                    <a:lnTo>
                      <a:pt x="1783" y="347"/>
                    </a:lnTo>
                    <a:lnTo>
                      <a:pt x="1810" y="495"/>
                    </a:lnTo>
                    <a:lnTo>
                      <a:pt x="1944" y="479"/>
                    </a:lnTo>
                    <a:lnTo>
                      <a:pt x="2055" y="339"/>
                    </a:lnTo>
                    <a:lnTo>
                      <a:pt x="2267" y="323"/>
                    </a:lnTo>
                    <a:lnTo>
                      <a:pt x="2417" y="251"/>
                    </a:lnTo>
                    <a:lnTo>
                      <a:pt x="2523" y="136"/>
                    </a:lnTo>
                    <a:lnTo>
                      <a:pt x="2665" y="12"/>
                    </a:lnTo>
                    <a:lnTo>
                      <a:pt x="2783" y="0"/>
                    </a:lnTo>
                    <a:lnTo>
                      <a:pt x="2787" y="275"/>
                    </a:lnTo>
                    <a:lnTo>
                      <a:pt x="2775" y="483"/>
                    </a:lnTo>
                    <a:lnTo>
                      <a:pt x="2704" y="658"/>
                    </a:lnTo>
                    <a:lnTo>
                      <a:pt x="2634" y="827"/>
                    </a:lnTo>
                    <a:lnTo>
                      <a:pt x="2503" y="795"/>
                    </a:lnTo>
                    <a:lnTo>
                      <a:pt x="2385" y="806"/>
                    </a:lnTo>
                    <a:lnTo>
                      <a:pt x="2278" y="771"/>
                    </a:lnTo>
                    <a:lnTo>
                      <a:pt x="2160" y="897"/>
                    </a:lnTo>
                    <a:lnTo>
                      <a:pt x="2022" y="972"/>
                    </a:lnTo>
                    <a:lnTo>
                      <a:pt x="1791" y="959"/>
                    </a:lnTo>
                    <a:lnTo>
                      <a:pt x="1633" y="833"/>
                    </a:lnTo>
                    <a:lnTo>
                      <a:pt x="1513" y="771"/>
                    </a:lnTo>
                    <a:lnTo>
                      <a:pt x="1275" y="857"/>
                    </a:lnTo>
                    <a:lnTo>
                      <a:pt x="1168" y="863"/>
                    </a:lnTo>
                    <a:lnTo>
                      <a:pt x="1074" y="804"/>
                    </a:lnTo>
                    <a:lnTo>
                      <a:pt x="810" y="623"/>
                    </a:lnTo>
                    <a:lnTo>
                      <a:pt x="637" y="734"/>
                    </a:lnTo>
                    <a:lnTo>
                      <a:pt x="590" y="841"/>
                    </a:lnTo>
                    <a:lnTo>
                      <a:pt x="447" y="863"/>
                    </a:lnTo>
                    <a:lnTo>
                      <a:pt x="402" y="968"/>
                    </a:lnTo>
                    <a:lnTo>
                      <a:pt x="267" y="1009"/>
                    </a:lnTo>
                    <a:lnTo>
                      <a:pt x="258" y="927"/>
                    </a:lnTo>
                    <a:lnTo>
                      <a:pt x="184" y="849"/>
                    </a:lnTo>
                    <a:lnTo>
                      <a:pt x="184" y="744"/>
                    </a:lnTo>
                    <a:lnTo>
                      <a:pt x="0" y="671"/>
                    </a:lnTo>
                    <a:lnTo>
                      <a:pt x="153" y="530"/>
                    </a:lnTo>
                    <a:lnTo>
                      <a:pt x="279" y="471"/>
                    </a:lnTo>
                    <a:lnTo>
                      <a:pt x="350" y="395"/>
                    </a:lnTo>
                    <a:lnTo>
                      <a:pt x="294" y="231"/>
                    </a:lnTo>
                    <a:lnTo>
                      <a:pt x="330" y="84"/>
                    </a:lnTo>
                    <a:lnTo>
                      <a:pt x="483" y="120"/>
                    </a:lnTo>
                    <a:lnTo>
                      <a:pt x="651" y="75"/>
                    </a:lnTo>
                    <a:lnTo>
                      <a:pt x="769" y="95"/>
                    </a:lnTo>
                    <a:lnTo>
                      <a:pt x="1011" y="323"/>
                    </a:lnTo>
                    <a:lnTo>
                      <a:pt x="1060" y="240"/>
                    </a:lnTo>
                    <a:lnTo>
                      <a:pt x="1155" y="21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5" name="Freeform 47">
                <a:extLst>
                  <a:ext uri="{FF2B5EF4-FFF2-40B4-BE49-F238E27FC236}">
                    <a16:creationId xmlns:a16="http://schemas.microsoft.com/office/drawing/2014/main" id="{D2FA1A02-C5A1-4B93-9FAC-D5C5BC0B54BB}"/>
                  </a:ext>
                </a:extLst>
              </p:cNvPr>
              <p:cNvSpPr>
                <a:spLocks/>
              </p:cNvSpPr>
              <p:nvPr/>
            </p:nvSpPr>
            <p:spPr bwMode="auto">
              <a:xfrm>
                <a:off x="3129" y="1741"/>
                <a:ext cx="311" cy="184"/>
              </a:xfrm>
              <a:custGeom>
                <a:avLst/>
                <a:gdLst/>
                <a:ahLst/>
                <a:cxnLst>
                  <a:cxn ang="0">
                    <a:pos x="116" y="184"/>
                  </a:cxn>
                  <a:cxn ang="0">
                    <a:pos x="319" y="229"/>
                  </a:cxn>
                  <a:cxn ang="0">
                    <a:pos x="599" y="64"/>
                  </a:cxn>
                  <a:cxn ang="0">
                    <a:pos x="753" y="1"/>
                  </a:cxn>
                  <a:cxn ang="0">
                    <a:pos x="824" y="0"/>
                  </a:cxn>
                  <a:cxn ang="0">
                    <a:pos x="858" y="124"/>
                  </a:cxn>
                  <a:cxn ang="0">
                    <a:pos x="645" y="332"/>
                  </a:cxn>
                  <a:cxn ang="0">
                    <a:pos x="850" y="392"/>
                  </a:cxn>
                  <a:cxn ang="0">
                    <a:pos x="998" y="388"/>
                  </a:cxn>
                  <a:cxn ang="0">
                    <a:pos x="1177" y="512"/>
                  </a:cxn>
                  <a:cxn ang="0">
                    <a:pos x="1239" y="388"/>
                  </a:cxn>
                  <a:cxn ang="0">
                    <a:pos x="1181" y="184"/>
                  </a:cxn>
                  <a:cxn ang="0">
                    <a:pos x="1271" y="120"/>
                  </a:cxn>
                  <a:cxn ang="0">
                    <a:pos x="1477" y="229"/>
                  </a:cxn>
                  <a:cxn ang="0">
                    <a:pos x="1717" y="237"/>
                  </a:cxn>
                  <a:cxn ang="0">
                    <a:pos x="2052" y="282"/>
                  </a:cxn>
                  <a:cxn ang="0">
                    <a:pos x="2046" y="468"/>
                  </a:cxn>
                  <a:cxn ang="0">
                    <a:pos x="2076" y="629"/>
                  </a:cxn>
                  <a:cxn ang="0">
                    <a:pos x="1927" y="644"/>
                  </a:cxn>
                  <a:cxn ang="0">
                    <a:pos x="1751" y="799"/>
                  </a:cxn>
                  <a:cxn ang="0">
                    <a:pos x="1624" y="937"/>
                  </a:cxn>
                  <a:cxn ang="0">
                    <a:pos x="1436" y="1030"/>
                  </a:cxn>
                  <a:cxn ang="0">
                    <a:pos x="1166" y="1053"/>
                  </a:cxn>
                  <a:cxn ang="0">
                    <a:pos x="1028" y="1229"/>
                  </a:cxn>
                  <a:cxn ang="0">
                    <a:pos x="858" y="1247"/>
                  </a:cxn>
                  <a:cxn ang="0">
                    <a:pos x="825" y="1064"/>
                  </a:cxn>
                  <a:cxn ang="0">
                    <a:pos x="810" y="829"/>
                  </a:cxn>
                  <a:cxn ang="0">
                    <a:pos x="767" y="694"/>
                  </a:cxn>
                  <a:cxn ang="0">
                    <a:pos x="588" y="824"/>
                  </a:cxn>
                  <a:cxn ang="0">
                    <a:pos x="465" y="950"/>
                  </a:cxn>
                  <a:cxn ang="0">
                    <a:pos x="306" y="1038"/>
                  </a:cxn>
                  <a:cxn ang="0">
                    <a:pos x="215" y="934"/>
                  </a:cxn>
                  <a:cxn ang="0">
                    <a:pos x="111" y="962"/>
                  </a:cxn>
                  <a:cxn ang="0">
                    <a:pos x="43" y="899"/>
                  </a:cxn>
                  <a:cxn ang="0">
                    <a:pos x="58" y="689"/>
                  </a:cxn>
                  <a:cxn ang="0">
                    <a:pos x="0" y="470"/>
                  </a:cxn>
                  <a:cxn ang="0">
                    <a:pos x="83" y="388"/>
                  </a:cxn>
                  <a:cxn ang="0">
                    <a:pos x="116" y="184"/>
                  </a:cxn>
                </a:cxnLst>
                <a:rect l="0" t="0" r="r" b="b"/>
                <a:pathLst>
                  <a:path w="2076" h="1247">
                    <a:moveTo>
                      <a:pt x="116" y="184"/>
                    </a:moveTo>
                    <a:lnTo>
                      <a:pt x="319" y="229"/>
                    </a:lnTo>
                    <a:lnTo>
                      <a:pt x="599" y="64"/>
                    </a:lnTo>
                    <a:lnTo>
                      <a:pt x="753" y="1"/>
                    </a:lnTo>
                    <a:lnTo>
                      <a:pt x="824" y="0"/>
                    </a:lnTo>
                    <a:lnTo>
                      <a:pt x="858" y="124"/>
                    </a:lnTo>
                    <a:lnTo>
                      <a:pt x="645" y="332"/>
                    </a:lnTo>
                    <a:lnTo>
                      <a:pt x="850" y="392"/>
                    </a:lnTo>
                    <a:lnTo>
                      <a:pt x="998" y="388"/>
                    </a:lnTo>
                    <a:lnTo>
                      <a:pt x="1177" y="512"/>
                    </a:lnTo>
                    <a:lnTo>
                      <a:pt x="1239" y="388"/>
                    </a:lnTo>
                    <a:lnTo>
                      <a:pt x="1181" y="184"/>
                    </a:lnTo>
                    <a:lnTo>
                      <a:pt x="1271" y="120"/>
                    </a:lnTo>
                    <a:lnTo>
                      <a:pt x="1477" y="229"/>
                    </a:lnTo>
                    <a:lnTo>
                      <a:pt x="1717" y="237"/>
                    </a:lnTo>
                    <a:lnTo>
                      <a:pt x="2052" y="282"/>
                    </a:lnTo>
                    <a:lnTo>
                      <a:pt x="2046" y="468"/>
                    </a:lnTo>
                    <a:lnTo>
                      <a:pt x="2076" y="629"/>
                    </a:lnTo>
                    <a:lnTo>
                      <a:pt x="1927" y="644"/>
                    </a:lnTo>
                    <a:lnTo>
                      <a:pt x="1751" y="799"/>
                    </a:lnTo>
                    <a:lnTo>
                      <a:pt x="1624" y="937"/>
                    </a:lnTo>
                    <a:lnTo>
                      <a:pt x="1436" y="1030"/>
                    </a:lnTo>
                    <a:lnTo>
                      <a:pt x="1166" y="1053"/>
                    </a:lnTo>
                    <a:lnTo>
                      <a:pt x="1028" y="1229"/>
                    </a:lnTo>
                    <a:lnTo>
                      <a:pt x="858" y="1247"/>
                    </a:lnTo>
                    <a:lnTo>
                      <a:pt x="825" y="1064"/>
                    </a:lnTo>
                    <a:lnTo>
                      <a:pt x="810" y="829"/>
                    </a:lnTo>
                    <a:lnTo>
                      <a:pt x="767" y="694"/>
                    </a:lnTo>
                    <a:lnTo>
                      <a:pt x="588" y="824"/>
                    </a:lnTo>
                    <a:lnTo>
                      <a:pt x="465" y="950"/>
                    </a:lnTo>
                    <a:lnTo>
                      <a:pt x="306" y="1038"/>
                    </a:lnTo>
                    <a:lnTo>
                      <a:pt x="215" y="934"/>
                    </a:lnTo>
                    <a:lnTo>
                      <a:pt x="111" y="962"/>
                    </a:lnTo>
                    <a:lnTo>
                      <a:pt x="43" y="899"/>
                    </a:lnTo>
                    <a:lnTo>
                      <a:pt x="58" y="689"/>
                    </a:lnTo>
                    <a:lnTo>
                      <a:pt x="0" y="470"/>
                    </a:lnTo>
                    <a:lnTo>
                      <a:pt x="83" y="388"/>
                    </a:lnTo>
                    <a:lnTo>
                      <a:pt x="116" y="184"/>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6" name="Freeform 48">
                <a:extLst>
                  <a:ext uri="{FF2B5EF4-FFF2-40B4-BE49-F238E27FC236}">
                    <a16:creationId xmlns:a16="http://schemas.microsoft.com/office/drawing/2014/main" id="{9C5034DC-69DC-45B2-8400-30E5E96432E3}"/>
                  </a:ext>
                </a:extLst>
              </p:cNvPr>
              <p:cNvSpPr>
                <a:spLocks/>
              </p:cNvSpPr>
              <p:nvPr/>
            </p:nvSpPr>
            <p:spPr bwMode="auto">
              <a:xfrm>
                <a:off x="3147" y="1642"/>
                <a:ext cx="289" cy="175"/>
              </a:xfrm>
              <a:custGeom>
                <a:avLst/>
                <a:gdLst/>
                <a:ahLst/>
                <a:cxnLst>
                  <a:cxn ang="0">
                    <a:pos x="1742" y="233"/>
                  </a:cxn>
                  <a:cxn ang="0">
                    <a:pos x="1579" y="143"/>
                  </a:cxn>
                  <a:cxn ang="0">
                    <a:pos x="1329" y="173"/>
                  </a:cxn>
                  <a:cxn ang="0">
                    <a:pos x="1092" y="143"/>
                  </a:cxn>
                  <a:cxn ang="0">
                    <a:pos x="940" y="53"/>
                  </a:cxn>
                  <a:cxn ang="0">
                    <a:pos x="778" y="0"/>
                  </a:cxn>
                  <a:cxn ang="0">
                    <a:pos x="697" y="43"/>
                  </a:cxn>
                  <a:cxn ang="0">
                    <a:pos x="555" y="29"/>
                  </a:cxn>
                  <a:cxn ang="0">
                    <a:pos x="439" y="203"/>
                  </a:cxn>
                  <a:cxn ang="0">
                    <a:pos x="306" y="414"/>
                  </a:cxn>
                  <a:cxn ang="0">
                    <a:pos x="150" y="666"/>
                  </a:cxn>
                  <a:cxn ang="0">
                    <a:pos x="30" y="687"/>
                  </a:cxn>
                  <a:cxn ang="0">
                    <a:pos x="0" y="853"/>
                  </a:cxn>
                  <a:cxn ang="0">
                    <a:pos x="201" y="897"/>
                  </a:cxn>
                  <a:cxn ang="0">
                    <a:pos x="487" y="732"/>
                  </a:cxn>
                  <a:cxn ang="0">
                    <a:pos x="630" y="672"/>
                  </a:cxn>
                  <a:cxn ang="0">
                    <a:pos x="708" y="667"/>
                  </a:cxn>
                  <a:cxn ang="0">
                    <a:pos x="738" y="793"/>
                  </a:cxn>
                  <a:cxn ang="0">
                    <a:pos x="526" y="1002"/>
                  </a:cxn>
                  <a:cxn ang="0">
                    <a:pos x="738" y="1062"/>
                  </a:cxn>
                  <a:cxn ang="0">
                    <a:pos x="881" y="1057"/>
                  </a:cxn>
                  <a:cxn ang="0">
                    <a:pos x="1058" y="1182"/>
                  </a:cxn>
                  <a:cxn ang="0">
                    <a:pos x="1122" y="1057"/>
                  </a:cxn>
                  <a:cxn ang="0">
                    <a:pos x="1063" y="853"/>
                  </a:cxn>
                  <a:cxn ang="0">
                    <a:pos x="1152" y="788"/>
                  </a:cxn>
                  <a:cxn ang="0">
                    <a:pos x="1358" y="897"/>
                  </a:cxn>
                  <a:cxn ang="0">
                    <a:pos x="1609" y="907"/>
                  </a:cxn>
                  <a:cxn ang="0">
                    <a:pos x="1934" y="952"/>
                  </a:cxn>
                  <a:cxn ang="0">
                    <a:pos x="1919" y="823"/>
                  </a:cxn>
                  <a:cxn ang="0">
                    <a:pos x="1870" y="682"/>
                  </a:cxn>
                  <a:cxn ang="0">
                    <a:pos x="1815" y="442"/>
                  </a:cxn>
                  <a:cxn ang="0">
                    <a:pos x="1742" y="233"/>
                  </a:cxn>
                </a:cxnLst>
                <a:rect l="0" t="0" r="r" b="b"/>
                <a:pathLst>
                  <a:path w="1934" h="1182">
                    <a:moveTo>
                      <a:pt x="1742" y="233"/>
                    </a:moveTo>
                    <a:lnTo>
                      <a:pt x="1579" y="143"/>
                    </a:lnTo>
                    <a:lnTo>
                      <a:pt x="1329" y="173"/>
                    </a:lnTo>
                    <a:lnTo>
                      <a:pt x="1092" y="143"/>
                    </a:lnTo>
                    <a:lnTo>
                      <a:pt x="940" y="53"/>
                    </a:lnTo>
                    <a:lnTo>
                      <a:pt x="778" y="0"/>
                    </a:lnTo>
                    <a:lnTo>
                      <a:pt x="697" y="43"/>
                    </a:lnTo>
                    <a:lnTo>
                      <a:pt x="555" y="29"/>
                    </a:lnTo>
                    <a:lnTo>
                      <a:pt x="439" y="203"/>
                    </a:lnTo>
                    <a:lnTo>
                      <a:pt x="306" y="414"/>
                    </a:lnTo>
                    <a:lnTo>
                      <a:pt x="150" y="666"/>
                    </a:lnTo>
                    <a:lnTo>
                      <a:pt x="30" y="687"/>
                    </a:lnTo>
                    <a:lnTo>
                      <a:pt x="0" y="853"/>
                    </a:lnTo>
                    <a:lnTo>
                      <a:pt x="201" y="897"/>
                    </a:lnTo>
                    <a:lnTo>
                      <a:pt x="487" y="732"/>
                    </a:lnTo>
                    <a:lnTo>
                      <a:pt x="630" y="672"/>
                    </a:lnTo>
                    <a:lnTo>
                      <a:pt x="708" y="667"/>
                    </a:lnTo>
                    <a:lnTo>
                      <a:pt x="738" y="793"/>
                    </a:lnTo>
                    <a:lnTo>
                      <a:pt x="526" y="1002"/>
                    </a:lnTo>
                    <a:lnTo>
                      <a:pt x="738" y="1062"/>
                    </a:lnTo>
                    <a:lnTo>
                      <a:pt x="881" y="1057"/>
                    </a:lnTo>
                    <a:lnTo>
                      <a:pt x="1058" y="1182"/>
                    </a:lnTo>
                    <a:lnTo>
                      <a:pt x="1122" y="1057"/>
                    </a:lnTo>
                    <a:lnTo>
                      <a:pt x="1063" y="853"/>
                    </a:lnTo>
                    <a:lnTo>
                      <a:pt x="1152" y="788"/>
                    </a:lnTo>
                    <a:lnTo>
                      <a:pt x="1358" y="897"/>
                    </a:lnTo>
                    <a:lnTo>
                      <a:pt x="1609" y="907"/>
                    </a:lnTo>
                    <a:lnTo>
                      <a:pt x="1934" y="952"/>
                    </a:lnTo>
                    <a:lnTo>
                      <a:pt x="1919" y="823"/>
                    </a:lnTo>
                    <a:lnTo>
                      <a:pt x="1870" y="682"/>
                    </a:lnTo>
                    <a:lnTo>
                      <a:pt x="1815" y="442"/>
                    </a:lnTo>
                    <a:lnTo>
                      <a:pt x="1742" y="233"/>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7" name="Freeform 49">
                <a:extLst>
                  <a:ext uri="{FF2B5EF4-FFF2-40B4-BE49-F238E27FC236}">
                    <a16:creationId xmlns:a16="http://schemas.microsoft.com/office/drawing/2014/main" id="{E6FB2DA9-5765-445A-8603-9FDE228CA707}"/>
                  </a:ext>
                </a:extLst>
              </p:cNvPr>
              <p:cNvSpPr>
                <a:spLocks/>
              </p:cNvSpPr>
              <p:nvPr/>
            </p:nvSpPr>
            <p:spPr bwMode="auto">
              <a:xfrm>
                <a:off x="1017" y="802"/>
                <a:ext cx="486" cy="543"/>
              </a:xfrm>
              <a:custGeom>
                <a:avLst/>
                <a:gdLst/>
                <a:ahLst/>
                <a:cxnLst>
                  <a:cxn ang="0">
                    <a:pos x="2316" y="170"/>
                  </a:cxn>
                  <a:cxn ang="0">
                    <a:pos x="2108" y="409"/>
                  </a:cxn>
                  <a:cxn ang="0">
                    <a:pos x="1784" y="524"/>
                  </a:cxn>
                  <a:cxn ang="0">
                    <a:pos x="1286" y="644"/>
                  </a:cxn>
                  <a:cxn ang="0">
                    <a:pos x="1123" y="853"/>
                  </a:cxn>
                  <a:cxn ang="0">
                    <a:pos x="739" y="679"/>
                  </a:cxn>
                  <a:cxn ang="0">
                    <a:pos x="369" y="584"/>
                  </a:cxn>
                  <a:cxn ang="0">
                    <a:pos x="5" y="499"/>
                  </a:cxn>
                  <a:cxn ang="0">
                    <a:pos x="104" y="763"/>
                  </a:cxn>
                  <a:cxn ang="0">
                    <a:pos x="325" y="978"/>
                  </a:cxn>
                  <a:cxn ang="0">
                    <a:pos x="409" y="1332"/>
                  </a:cxn>
                  <a:cxn ang="0">
                    <a:pos x="542" y="1592"/>
                  </a:cxn>
                  <a:cxn ang="0">
                    <a:pos x="779" y="1700"/>
                  </a:cxn>
                  <a:cxn ang="0">
                    <a:pos x="1123" y="1861"/>
                  </a:cxn>
                  <a:cxn ang="0">
                    <a:pos x="1222" y="2219"/>
                  </a:cxn>
                  <a:cxn ang="0">
                    <a:pos x="1227" y="2948"/>
                  </a:cxn>
                  <a:cxn ang="0">
                    <a:pos x="1360" y="3247"/>
                  </a:cxn>
                  <a:cxn ang="0">
                    <a:pos x="1493" y="3506"/>
                  </a:cxn>
                  <a:cxn ang="0">
                    <a:pos x="1739" y="3681"/>
                  </a:cxn>
                  <a:cxn ang="0">
                    <a:pos x="1922" y="3187"/>
                  </a:cxn>
                  <a:cxn ang="0">
                    <a:pos x="2261" y="3357"/>
                  </a:cxn>
                  <a:cxn ang="0">
                    <a:pos x="2448" y="3247"/>
                  </a:cxn>
                  <a:cxn ang="0">
                    <a:pos x="2542" y="2893"/>
                  </a:cxn>
                  <a:cxn ang="0">
                    <a:pos x="2956" y="2788"/>
                  </a:cxn>
                  <a:cxn ang="0">
                    <a:pos x="3176" y="2333"/>
                  </a:cxn>
                  <a:cxn ang="0">
                    <a:pos x="3069" y="2139"/>
                  </a:cxn>
                  <a:cxn ang="0">
                    <a:pos x="2779" y="1665"/>
                  </a:cxn>
                  <a:cxn ang="0">
                    <a:pos x="2631" y="1382"/>
                  </a:cxn>
                  <a:cxn ang="0">
                    <a:pos x="2892" y="748"/>
                  </a:cxn>
                  <a:cxn ang="0">
                    <a:pos x="2809" y="494"/>
                  </a:cxn>
                  <a:cxn ang="0">
                    <a:pos x="2641" y="155"/>
                  </a:cxn>
                  <a:cxn ang="0">
                    <a:pos x="2405" y="35"/>
                  </a:cxn>
                </a:cxnLst>
                <a:rect l="0" t="0" r="r" b="b"/>
                <a:pathLst>
                  <a:path w="3244" h="3681">
                    <a:moveTo>
                      <a:pt x="2227" y="35"/>
                    </a:moveTo>
                    <a:lnTo>
                      <a:pt x="2316" y="170"/>
                    </a:lnTo>
                    <a:lnTo>
                      <a:pt x="2168" y="284"/>
                    </a:lnTo>
                    <a:lnTo>
                      <a:pt x="2108" y="409"/>
                    </a:lnTo>
                    <a:lnTo>
                      <a:pt x="1902" y="404"/>
                    </a:lnTo>
                    <a:lnTo>
                      <a:pt x="1784" y="524"/>
                    </a:lnTo>
                    <a:lnTo>
                      <a:pt x="1546" y="614"/>
                    </a:lnTo>
                    <a:lnTo>
                      <a:pt x="1286" y="644"/>
                    </a:lnTo>
                    <a:lnTo>
                      <a:pt x="1093" y="703"/>
                    </a:lnTo>
                    <a:lnTo>
                      <a:pt x="1123" y="853"/>
                    </a:lnTo>
                    <a:lnTo>
                      <a:pt x="1020" y="918"/>
                    </a:lnTo>
                    <a:lnTo>
                      <a:pt x="739" y="679"/>
                    </a:lnTo>
                    <a:lnTo>
                      <a:pt x="473" y="733"/>
                    </a:lnTo>
                    <a:lnTo>
                      <a:pt x="369" y="584"/>
                    </a:lnTo>
                    <a:lnTo>
                      <a:pt x="143" y="614"/>
                    </a:lnTo>
                    <a:lnTo>
                      <a:pt x="5" y="499"/>
                    </a:lnTo>
                    <a:lnTo>
                      <a:pt x="0" y="614"/>
                    </a:lnTo>
                    <a:lnTo>
                      <a:pt x="104" y="763"/>
                    </a:lnTo>
                    <a:lnTo>
                      <a:pt x="266" y="808"/>
                    </a:lnTo>
                    <a:lnTo>
                      <a:pt x="325" y="978"/>
                    </a:lnTo>
                    <a:lnTo>
                      <a:pt x="290" y="1157"/>
                    </a:lnTo>
                    <a:lnTo>
                      <a:pt x="409" y="1332"/>
                    </a:lnTo>
                    <a:lnTo>
                      <a:pt x="424" y="1517"/>
                    </a:lnTo>
                    <a:lnTo>
                      <a:pt x="542" y="1592"/>
                    </a:lnTo>
                    <a:lnTo>
                      <a:pt x="768" y="1562"/>
                    </a:lnTo>
                    <a:lnTo>
                      <a:pt x="779" y="1700"/>
                    </a:lnTo>
                    <a:lnTo>
                      <a:pt x="916" y="1780"/>
                    </a:lnTo>
                    <a:lnTo>
                      <a:pt x="1123" y="1861"/>
                    </a:lnTo>
                    <a:lnTo>
                      <a:pt x="1103" y="2021"/>
                    </a:lnTo>
                    <a:lnTo>
                      <a:pt x="1222" y="2219"/>
                    </a:lnTo>
                    <a:lnTo>
                      <a:pt x="1271" y="2424"/>
                    </a:lnTo>
                    <a:lnTo>
                      <a:pt x="1227" y="2948"/>
                    </a:lnTo>
                    <a:lnTo>
                      <a:pt x="1345" y="3117"/>
                    </a:lnTo>
                    <a:lnTo>
                      <a:pt x="1360" y="3247"/>
                    </a:lnTo>
                    <a:lnTo>
                      <a:pt x="1271" y="3372"/>
                    </a:lnTo>
                    <a:lnTo>
                      <a:pt x="1493" y="3506"/>
                    </a:lnTo>
                    <a:lnTo>
                      <a:pt x="1591" y="3671"/>
                    </a:lnTo>
                    <a:lnTo>
                      <a:pt x="1739" y="3681"/>
                    </a:lnTo>
                    <a:lnTo>
                      <a:pt x="1769" y="3367"/>
                    </a:lnTo>
                    <a:lnTo>
                      <a:pt x="1922" y="3187"/>
                    </a:lnTo>
                    <a:lnTo>
                      <a:pt x="2079" y="3192"/>
                    </a:lnTo>
                    <a:lnTo>
                      <a:pt x="2261" y="3357"/>
                    </a:lnTo>
                    <a:lnTo>
                      <a:pt x="2380" y="3367"/>
                    </a:lnTo>
                    <a:lnTo>
                      <a:pt x="2448" y="3247"/>
                    </a:lnTo>
                    <a:lnTo>
                      <a:pt x="2463" y="3072"/>
                    </a:lnTo>
                    <a:lnTo>
                      <a:pt x="2542" y="2893"/>
                    </a:lnTo>
                    <a:lnTo>
                      <a:pt x="2685" y="2773"/>
                    </a:lnTo>
                    <a:lnTo>
                      <a:pt x="2956" y="2788"/>
                    </a:lnTo>
                    <a:lnTo>
                      <a:pt x="3244" y="2766"/>
                    </a:lnTo>
                    <a:lnTo>
                      <a:pt x="3176" y="2333"/>
                    </a:lnTo>
                    <a:lnTo>
                      <a:pt x="3216" y="2217"/>
                    </a:lnTo>
                    <a:lnTo>
                      <a:pt x="3069" y="2139"/>
                    </a:lnTo>
                    <a:lnTo>
                      <a:pt x="2809" y="1906"/>
                    </a:lnTo>
                    <a:lnTo>
                      <a:pt x="2779" y="1665"/>
                    </a:lnTo>
                    <a:lnTo>
                      <a:pt x="2685" y="1557"/>
                    </a:lnTo>
                    <a:lnTo>
                      <a:pt x="2631" y="1382"/>
                    </a:lnTo>
                    <a:lnTo>
                      <a:pt x="2700" y="1003"/>
                    </a:lnTo>
                    <a:lnTo>
                      <a:pt x="2892" y="748"/>
                    </a:lnTo>
                    <a:lnTo>
                      <a:pt x="2804" y="614"/>
                    </a:lnTo>
                    <a:lnTo>
                      <a:pt x="2809" y="494"/>
                    </a:lnTo>
                    <a:lnTo>
                      <a:pt x="2567" y="409"/>
                    </a:lnTo>
                    <a:lnTo>
                      <a:pt x="2641" y="155"/>
                    </a:lnTo>
                    <a:lnTo>
                      <a:pt x="2552" y="0"/>
                    </a:lnTo>
                    <a:lnTo>
                      <a:pt x="2405" y="35"/>
                    </a:lnTo>
                    <a:lnTo>
                      <a:pt x="2227" y="35"/>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grpSp>
        <p:grpSp>
          <p:nvGrpSpPr>
            <p:cNvPr id="10" name="组合 53">
              <a:extLst>
                <a:ext uri="{FF2B5EF4-FFF2-40B4-BE49-F238E27FC236}">
                  <a16:creationId xmlns:a16="http://schemas.microsoft.com/office/drawing/2014/main" id="{B3B4B951-CF32-45EC-B7C4-F04E0C5EFC51}"/>
                </a:ext>
              </a:extLst>
            </p:cNvPr>
            <p:cNvGrpSpPr/>
            <p:nvPr/>
          </p:nvGrpSpPr>
          <p:grpSpPr>
            <a:xfrm>
              <a:off x="503937" y="3571876"/>
              <a:ext cx="2462945" cy="1479927"/>
              <a:chOff x="63233" y="4774171"/>
              <a:chExt cx="2462945" cy="1479927"/>
            </a:xfrm>
          </p:grpSpPr>
          <p:sp>
            <p:nvSpPr>
              <p:cNvPr id="35" name="圆角矩形 97">
                <a:extLst>
                  <a:ext uri="{FF2B5EF4-FFF2-40B4-BE49-F238E27FC236}">
                    <a16:creationId xmlns:a16="http://schemas.microsoft.com/office/drawing/2014/main" id="{49EF1932-E833-46A6-B04A-9B14268A8182}"/>
                  </a:ext>
                </a:extLst>
              </p:cNvPr>
              <p:cNvSpPr/>
              <p:nvPr/>
            </p:nvSpPr>
            <p:spPr>
              <a:xfrm>
                <a:off x="63233" y="4964087"/>
                <a:ext cx="2462945" cy="129001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36" name="圆角矩形 45">
                <a:extLst>
                  <a:ext uri="{FF2B5EF4-FFF2-40B4-BE49-F238E27FC236}">
                    <a16:creationId xmlns:a16="http://schemas.microsoft.com/office/drawing/2014/main" id="{94A304B8-0F50-41DA-8A0B-62332F47D0E0}"/>
                  </a:ext>
                </a:extLst>
              </p:cNvPr>
              <p:cNvSpPr/>
              <p:nvPr/>
            </p:nvSpPr>
            <p:spPr>
              <a:xfrm>
                <a:off x="680339" y="4774171"/>
                <a:ext cx="1582020" cy="422783"/>
              </a:xfrm>
              <a:prstGeom prst="roundRect">
                <a:avLst>
                  <a:gd name="adj" fmla="val 50000"/>
                </a:avLst>
              </a:prstGeom>
              <a:solidFill>
                <a:schemeClr val="bg1">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45703" rIns="0" bIns="45703" anchor="ctr" anchorCtr="1"/>
              <a:lstStyle/>
              <a:p>
                <a:pPr algn="r" fontAlgn="base">
                  <a:spcBef>
                    <a:spcPct val="0"/>
                  </a:spcBef>
                  <a:spcAft>
                    <a:spcPct val="0"/>
                  </a:spcAft>
                </a:pPr>
                <a:r>
                  <a:rPr lang="en-US" altLang="zh-CN" sz="1200" b="1" kern="0" dirty="0"/>
                  <a:t>Londrina</a:t>
                </a:r>
              </a:p>
            </p:txBody>
          </p:sp>
        </p:grpSp>
        <p:grpSp>
          <p:nvGrpSpPr>
            <p:cNvPr id="15" name="组合 56">
              <a:extLst>
                <a:ext uri="{FF2B5EF4-FFF2-40B4-BE49-F238E27FC236}">
                  <a16:creationId xmlns:a16="http://schemas.microsoft.com/office/drawing/2014/main" id="{ACC726F9-74E6-4727-AF6E-0A67514F58C4}"/>
                </a:ext>
              </a:extLst>
            </p:cNvPr>
            <p:cNvGrpSpPr/>
            <p:nvPr/>
          </p:nvGrpSpPr>
          <p:grpSpPr>
            <a:xfrm>
              <a:off x="4387907" y="6276460"/>
              <a:ext cx="2248314" cy="1479925"/>
              <a:chOff x="3447137" y="5907119"/>
              <a:chExt cx="2248314" cy="1479925"/>
            </a:xfrm>
          </p:grpSpPr>
          <p:sp>
            <p:nvSpPr>
              <p:cNvPr id="26" name="圆角矩形 67">
                <a:extLst>
                  <a:ext uri="{FF2B5EF4-FFF2-40B4-BE49-F238E27FC236}">
                    <a16:creationId xmlns:a16="http://schemas.microsoft.com/office/drawing/2014/main" id="{0867EBA0-4C0D-4C3D-BC8E-BA0119171CD5}"/>
                  </a:ext>
                </a:extLst>
              </p:cNvPr>
              <p:cNvSpPr/>
              <p:nvPr/>
            </p:nvSpPr>
            <p:spPr>
              <a:xfrm>
                <a:off x="3447137" y="6097034"/>
                <a:ext cx="2248314" cy="129001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27" name="圆角矩形 45">
                <a:extLst>
                  <a:ext uri="{FF2B5EF4-FFF2-40B4-BE49-F238E27FC236}">
                    <a16:creationId xmlns:a16="http://schemas.microsoft.com/office/drawing/2014/main" id="{37DAE50C-677B-4671-8CC6-9F95A54A5B1A}"/>
                  </a:ext>
                </a:extLst>
              </p:cNvPr>
              <p:cNvSpPr/>
              <p:nvPr/>
            </p:nvSpPr>
            <p:spPr>
              <a:xfrm>
                <a:off x="3750957" y="5907119"/>
                <a:ext cx="1779332" cy="422783"/>
              </a:xfrm>
              <a:prstGeom prst="roundRect">
                <a:avLst>
                  <a:gd name="adj" fmla="val 50000"/>
                </a:avLst>
              </a:prstGeom>
              <a:solidFill>
                <a:schemeClr val="bg1">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45703" rIns="0" bIns="45703" anchor="ctr" anchorCtr="1"/>
              <a:lstStyle/>
              <a:p>
                <a:pPr algn="r" fontAlgn="base">
                  <a:spcBef>
                    <a:spcPct val="0"/>
                  </a:spcBef>
                  <a:spcAft>
                    <a:spcPct val="0"/>
                  </a:spcAft>
                </a:pPr>
                <a:r>
                  <a:rPr lang="en-US" altLang="zh-CN" sz="1200" b="1" kern="0" dirty="0" err="1"/>
                  <a:t>Cachoeirinha</a:t>
                </a:r>
                <a:endParaRPr lang="en-US" altLang="zh-CN" sz="1200" b="1" kern="0" dirty="0"/>
              </a:p>
            </p:txBody>
          </p:sp>
        </p:grpSp>
        <p:sp>
          <p:nvSpPr>
            <p:cNvPr id="18" name="Oval 25">
              <a:extLst>
                <a:ext uri="{FF2B5EF4-FFF2-40B4-BE49-F238E27FC236}">
                  <a16:creationId xmlns:a16="http://schemas.microsoft.com/office/drawing/2014/main" id="{36790634-7F19-4D5A-94DC-1B0CA864B99A}"/>
                </a:ext>
              </a:extLst>
            </p:cNvPr>
            <p:cNvSpPr>
              <a:spLocks noChangeArrowheads="1"/>
            </p:cNvSpPr>
            <p:nvPr/>
          </p:nvSpPr>
          <p:spPr bwMode="gray">
            <a:xfrm>
              <a:off x="4387906" y="5166937"/>
              <a:ext cx="108820" cy="108820"/>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sp>
          <p:nvSpPr>
            <p:cNvPr id="22" name="Oval 25">
              <a:extLst>
                <a:ext uri="{FF2B5EF4-FFF2-40B4-BE49-F238E27FC236}">
                  <a16:creationId xmlns:a16="http://schemas.microsoft.com/office/drawing/2014/main" id="{F7484D4C-BE28-4837-AC1C-20CC46D8C72F}"/>
                </a:ext>
              </a:extLst>
            </p:cNvPr>
            <p:cNvSpPr>
              <a:spLocks noChangeArrowheads="1"/>
            </p:cNvSpPr>
            <p:nvPr/>
          </p:nvSpPr>
          <p:spPr bwMode="gray">
            <a:xfrm>
              <a:off x="4107002" y="5724518"/>
              <a:ext cx="108821" cy="10882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23" name="肘形连接符 139">
              <a:extLst>
                <a:ext uri="{FF2B5EF4-FFF2-40B4-BE49-F238E27FC236}">
                  <a16:creationId xmlns:a16="http://schemas.microsoft.com/office/drawing/2014/main" id="{55A320D9-A20C-438B-A100-E8CDF5489B35}"/>
                </a:ext>
              </a:extLst>
            </p:cNvPr>
            <p:cNvCxnSpPr>
              <a:cxnSpLocks/>
              <a:stCxn id="26" idx="3"/>
              <a:endCxn id="22" idx="4"/>
            </p:cNvCxnSpPr>
            <p:nvPr/>
          </p:nvCxnSpPr>
          <p:spPr>
            <a:xfrm flipH="1" flipV="1">
              <a:off x="4161413" y="5833338"/>
              <a:ext cx="2474807" cy="1278042"/>
            </a:xfrm>
            <a:prstGeom prst="bentConnector4">
              <a:avLst>
                <a:gd name="adj1" fmla="val -12806"/>
                <a:gd name="adj2" fmla="val 75234"/>
              </a:avLst>
            </a:prstGeom>
            <a:noFill/>
            <a:ln w="9525">
              <a:solidFill>
                <a:srgbClr val="C00000"/>
              </a:solidFill>
              <a:prstDash val="sysDash"/>
              <a:miter lim="800000"/>
              <a:headEnd/>
              <a:tailEnd/>
            </a:ln>
          </p:spPr>
        </p:cxnSp>
      </p:grpSp>
      <p:cxnSp>
        <p:nvCxnSpPr>
          <p:cNvPr id="68" name="肘形连接符 139">
            <a:extLst>
              <a:ext uri="{FF2B5EF4-FFF2-40B4-BE49-F238E27FC236}">
                <a16:creationId xmlns:a16="http://schemas.microsoft.com/office/drawing/2014/main" id="{897DF502-2E18-44FC-AE0E-8F0314F796D3}"/>
              </a:ext>
            </a:extLst>
          </p:cNvPr>
          <p:cNvCxnSpPr>
            <a:cxnSpLocks/>
            <a:stCxn id="18" idx="2"/>
          </p:cNvCxnSpPr>
          <p:nvPr/>
        </p:nvCxnSpPr>
        <p:spPr>
          <a:xfrm rot="10800000">
            <a:off x="8479237" y="2683032"/>
            <a:ext cx="1036197" cy="760864"/>
          </a:xfrm>
          <a:prstGeom prst="bentConnector3">
            <a:avLst>
              <a:gd name="adj1" fmla="val 50000"/>
            </a:avLst>
          </a:prstGeom>
          <a:noFill/>
          <a:ln w="9525">
            <a:solidFill>
              <a:srgbClr val="C00000"/>
            </a:solidFill>
            <a:prstDash val="sysDash"/>
            <a:miter lim="800000"/>
            <a:headEnd/>
            <a:tailEnd/>
          </a:ln>
        </p:spPr>
      </p:cxnSp>
      <p:sp>
        <p:nvSpPr>
          <p:cNvPr id="72" name="Text Box 16">
            <a:extLst>
              <a:ext uri="{FF2B5EF4-FFF2-40B4-BE49-F238E27FC236}">
                <a16:creationId xmlns:a16="http://schemas.microsoft.com/office/drawing/2014/main" id="{1EB27187-13E2-4281-8A84-A28876AD4E8E}"/>
              </a:ext>
            </a:extLst>
          </p:cNvPr>
          <p:cNvSpPr txBox="1">
            <a:spLocks noChangeArrowheads="1"/>
          </p:cNvSpPr>
          <p:nvPr/>
        </p:nvSpPr>
        <p:spPr bwMode="auto">
          <a:xfrm>
            <a:off x="6673723" y="2584529"/>
            <a:ext cx="1798644" cy="501419"/>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err="1">
                <a:latin typeface="Calibri" pitchFamily="34" charset="0"/>
                <a:cs typeface="Calibri" pitchFamily="34" charset="0"/>
              </a:rPr>
              <a:t>Distribuição</a:t>
            </a:r>
            <a:r>
              <a:rPr lang="en-US" altLang="zh-CN" sz="1200" dirty="0">
                <a:latin typeface="Calibri" pitchFamily="34" charset="0"/>
                <a:cs typeface="Calibri" pitchFamily="34" charset="0"/>
              </a:rPr>
              <a:t> no </a:t>
            </a:r>
            <a:r>
              <a:rPr lang="en-US" altLang="zh-CN" sz="1200" dirty="0" err="1">
                <a:latin typeface="Calibri" pitchFamily="34" charset="0"/>
                <a:cs typeface="Calibri" pitchFamily="34" charset="0"/>
              </a:rPr>
              <a:t>estado</a:t>
            </a:r>
            <a:r>
              <a:rPr lang="en-US" altLang="zh-CN" sz="1200" dirty="0">
                <a:latin typeface="Calibri" pitchFamily="34" charset="0"/>
                <a:cs typeface="Calibri" pitchFamily="34" charset="0"/>
              </a:rPr>
              <a:t> do Parana</a:t>
            </a:r>
          </a:p>
        </p:txBody>
      </p:sp>
      <p:sp>
        <p:nvSpPr>
          <p:cNvPr id="73" name="Text Box 16">
            <a:extLst>
              <a:ext uri="{FF2B5EF4-FFF2-40B4-BE49-F238E27FC236}">
                <a16:creationId xmlns:a16="http://schemas.microsoft.com/office/drawing/2014/main" id="{26385042-1726-4F56-96AF-C4B3915AAB8C}"/>
              </a:ext>
            </a:extLst>
          </p:cNvPr>
          <p:cNvSpPr txBox="1">
            <a:spLocks noChangeArrowheads="1"/>
          </p:cNvSpPr>
          <p:nvPr/>
        </p:nvSpPr>
        <p:spPr bwMode="auto">
          <a:xfrm>
            <a:off x="9461368" y="4580517"/>
            <a:ext cx="1798644" cy="501419"/>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err="1">
                <a:latin typeface="Calibri" pitchFamily="34" charset="0"/>
                <a:cs typeface="Calibri" pitchFamily="34" charset="0"/>
              </a:rPr>
              <a:t>Distribuição</a:t>
            </a:r>
            <a:r>
              <a:rPr lang="en-US" altLang="zh-CN" sz="1200" dirty="0">
                <a:latin typeface="Calibri" pitchFamily="34" charset="0"/>
                <a:cs typeface="Calibri" pitchFamily="34" charset="0"/>
              </a:rPr>
              <a:t> no </a:t>
            </a:r>
            <a:r>
              <a:rPr lang="en-US" altLang="zh-CN" sz="1200" dirty="0" err="1">
                <a:latin typeface="Calibri" pitchFamily="34" charset="0"/>
                <a:cs typeface="Calibri" pitchFamily="34" charset="0"/>
              </a:rPr>
              <a:t>estado</a:t>
            </a:r>
            <a:r>
              <a:rPr lang="en-US" altLang="zh-CN" sz="1200" dirty="0">
                <a:latin typeface="Calibri" pitchFamily="34" charset="0"/>
                <a:cs typeface="Calibri" pitchFamily="34" charset="0"/>
              </a:rPr>
              <a:t> do Rio Grande do Sul</a:t>
            </a:r>
          </a:p>
        </p:txBody>
      </p:sp>
      <p:pic>
        <p:nvPicPr>
          <p:cNvPr id="12" name="Gráfico 11" descr="Caminhão">
            <a:extLst>
              <a:ext uri="{FF2B5EF4-FFF2-40B4-BE49-F238E27FC236}">
                <a16:creationId xmlns:a16="http://schemas.microsoft.com/office/drawing/2014/main" id="{0D95549F-88E4-454D-ABDF-7F1BA5FA11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99482" y="4412601"/>
            <a:ext cx="914400" cy="914400"/>
          </a:xfrm>
          <a:prstGeom prst="rect">
            <a:avLst/>
          </a:prstGeom>
        </p:spPr>
      </p:pic>
      <p:pic>
        <p:nvPicPr>
          <p:cNvPr id="28" name="Gráfico 27" descr="Início">
            <a:extLst>
              <a:ext uri="{FF2B5EF4-FFF2-40B4-BE49-F238E27FC236}">
                <a16:creationId xmlns:a16="http://schemas.microsoft.com/office/drawing/2014/main" id="{BA86045E-DF06-455D-82A1-D3C27AAEDC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88112" y="4384011"/>
            <a:ext cx="1636272" cy="914400"/>
          </a:xfrm>
          <a:prstGeom prst="rect">
            <a:avLst/>
          </a:prstGeom>
        </p:spPr>
      </p:pic>
      <p:sp>
        <p:nvSpPr>
          <p:cNvPr id="29" name="Seta: para a Direita 28">
            <a:extLst>
              <a:ext uri="{FF2B5EF4-FFF2-40B4-BE49-F238E27FC236}">
                <a16:creationId xmlns:a16="http://schemas.microsoft.com/office/drawing/2014/main" id="{2E214182-0DEA-40C8-A376-7C0F5D518EA8}"/>
              </a:ext>
            </a:extLst>
          </p:cNvPr>
          <p:cNvSpPr/>
          <p:nvPr/>
        </p:nvSpPr>
        <p:spPr bwMode="gray">
          <a:xfrm>
            <a:off x="1867383" y="4800150"/>
            <a:ext cx="630885" cy="24045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pt-BR" sz="1800" b="0" i="0" u="none" baseline="0" dirty="0">
              <a:solidFill>
                <a:srgbClr val="FFFFFF"/>
              </a:solidFill>
              <a:latin typeface="Arial" panose="020B0604020202020204" pitchFamily="34" charset="0"/>
            </a:endParaRPr>
          </a:p>
        </p:txBody>
      </p:sp>
      <p:sp>
        <p:nvSpPr>
          <p:cNvPr id="69" name="Seta: para a Direita 68">
            <a:extLst>
              <a:ext uri="{FF2B5EF4-FFF2-40B4-BE49-F238E27FC236}">
                <a16:creationId xmlns:a16="http://schemas.microsoft.com/office/drawing/2014/main" id="{244583BB-38B7-4896-9A74-9C48F5DDDBB4}"/>
              </a:ext>
            </a:extLst>
          </p:cNvPr>
          <p:cNvSpPr/>
          <p:nvPr/>
        </p:nvSpPr>
        <p:spPr bwMode="gray">
          <a:xfrm>
            <a:off x="3933279" y="4797947"/>
            <a:ext cx="630885" cy="23449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pt-BR" sz="1800" b="0" i="0" u="none" baseline="0" dirty="0">
              <a:solidFill>
                <a:srgbClr val="FFFFFF"/>
              </a:solidFill>
              <a:latin typeface="Arial" panose="020B0604020202020204" pitchFamily="34" charset="0"/>
            </a:endParaRPr>
          </a:p>
        </p:txBody>
      </p:sp>
      <p:sp>
        <p:nvSpPr>
          <p:cNvPr id="30" name="CaixaDeTexto 29">
            <a:extLst>
              <a:ext uri="{FF2B5EF4-FFF2-40B4-BE49-F238E27FC236}">
                <a16:creationId xmlns:a16="http://schemas.microsoft.com/office/drawing/2014/main" id="{AF6D0B6B-61A4-42D8-B73B-32309A61686B}"/>
              </a:ext>
            </a:extLst>
          </p:cNvPr>
          <p:cNvSpPr txBox="1"/>
          <p:nvPr/>
        </p:nvSpPr>
        <p:spPr bwMode="gray">
          <a:xfrm>
            <a:off x="770805" y="5407844"/>
            <a:ext cx="422031" cy="278824"/>
          </a:xfrm>
          <a:prstGeom prst="rect">
            <a:avLst/>
          </a:prstGeom>
          <a:noFill/>
        </p:spPr>
        <p:txBody>
          <a:bodyPr vert="horz" wrap="none" lIns="0" tIns="0" rIns="0" bIns="0" rtlCol="0">
            <a:noAutofit/>
          </a:bodyPr>
          <a:lstStyle/>
          <a:p>
            <a:pPr algn="l" rtl="0" eaLnBrk="1" fontAlgn="auto" hangingPunct="1">
              <a:lnSpc>
                <a:spcPct val="100000"/>
              </a:lnSpc>
              <a:spcBef>
                <a:spcPts val="0"/>
              </a:spcBef>
              <a:spcAft>
                <a:spcPts val="0"/>
              </a:spcAft>
            </a:pPr>
            <a:r>
              <a:rPr lang="pt-BR" sz="1800" b="0" i="0" u="none" baseline="0" dirty="0">
                <a:solidFill>
                  <a:srgbClr val="000000"/>
                </a:solidFill>
                <a:latin typeface="Arial" panose="020B0604020202020204" pitchFamily="34" charset="0"/>
              </a:rPr>
              <a:t>CD</a:t>
            </a:r>
          </a:p>
        </p:txBody>
      </p:sp>
      <p:sp>
        <p:nvSpPr>
          <p:cNvPr id="32" name="CaixaDeTexto 31">
            <a:extLst>
              <a:ext uri="{FF2B5EF4-FFF2-40B4-BE49-F238E27FC236}">
                <a16:creationId xmlns:a16="http://schemas.microsoft.com/office/drawing/2014/main" id="{43D79888-7BC9-4EAE-B953-36479D03B590}"/>
              </a:ext>
            </a:extLst>
          </p:cNvPr>
          <p:cNvSpPr txBox="1"/>
          <p:nvPr/>
        </p:nvSpPr>
        <p:spPr bwMode="gray">
          <a:xfrm>
            <a:off x="2723692" y="5413455"/>
            <a:ext cx="1300903" cy="283777"/>
          </a:xfrm>
          <a:prstGeom prst="rect">
            <a:avLst/>
          </a:prstGeom>
          <a:noFill/>
        </p:spPr>
        <p:txBody>
          <a:bodyPr vert="horz" wrap="none" lIns="0" tIns="0" rIns="0" bIns="0" rtlCol="0">
            <a:noAutofit/>
          </a:bodyPr>
          <a:lstStyle/>
          <a:p>
            <a:pPr algn="l" rtl="0" eaLnBrk="1" fontAlgn="auto" hangingPunct="1">
              <a:lnSpc>
                <a:spcPct val="100000"/>
              </a:lnSpc>
              <a:spcBef>
                <a:spcPts val="0"/>
              </a:spcBef>
              <a:spcAft>
                <a:spcPts val="0"/>
              </a:spcAft>
            </a:pPr>
            <a:r>
              <a:rPr lang="pt-BR" sz="1800" b="0" i="0" u="none" baseline="0" dirty="0">
                <a:solidFill>
                  <a:srgbClr val="000000"/>
                </a:solidFill>
                <a:latin typeface="Arial" panose="020B0604020202020204" pitchFamily="34" charset="0"/>
              </a:rPr>
              <a:t>Transporte</a:t>
            </a:r>
          </a:p>
        </p:txBody>
      </p:sp>
      <p:sp>
        <p:nvSpPr>
          <p:cNvPr id="33" name="CaixaDeTexto 32">
            <a:extLst>
              <a:ext uri="{FF2B5EF4-FFF2-40B4-BE49-F238E27FC236}">
                <a16:creationId xmlns:a16="http://schemas.microsoft.com/office/drawing/2014/main" id="{8FCCA1F4-93EB-4051-8C79-7B6B41A95E09}"/>
              </a:ext>
            </a:extLst>
          </p:cNvPr>
          <p:cNvSpPr txBox="1"/>
          <p:nvPr/>
        </p:nvSpPr>
        <p:spPr bwMode="gray">
          <a:xfrm>
            <a:off x="4274819" y="5270860"/>
            <a:ext cx="2742922" cy="562457"/>
          </a:xfrm>
          <a:prstGeom prst="rect">
            <a:avLst/>
          </a:prstGeom>
          <a:noFill/>
        </p:spPr>
        <p:txBody>
          <a:bodyPr vert="horz" wrap="none" lIns="0" tIns="0" rIns="0" bIns="0" rtlCol="0">
            <a:noAutofit/>
          </a:bodyPr>
          <a:lstStyle/>
          <a:p>
            <a:pPr algn="ctr" rtl="0" eaLnBrk="1" fontAlgn="auto" hangingPunct="1">
              <a:lnSpc>
                <a:spcPct val="100000"/>
              </a:lnSpc>
              <a:spcBef>
                <a:spcPts val="0"/>
              </a:spcBef>
              <a:spcAft>
                <a:spcPts val="0"/>
              </a:spcAft>
            </a:pPr>
            <a:r>
              <a:rPr lang="pt-BR" dirty="0">
                <a:solidFill>
                  <a:srgbClr val="000000"/>
                </a:solidFill>
                <a:latin typeface="Arial" panose="020B0604020202020204" pitchFamily="34" charset="0"/>
              </a:rPr>
              <a:t>Cliente </a:t>
            </a:r>
          </a:p>
          <a:p>
            <a:pPr algn="ctr" rtl="0" eaLnBrk="1" fontAlgn="auto" hangingPunct="1">
              <a:lnSpc>
                <a:spcPct val="100000"/>
              </a:lnSpc>
              <a:spcBef>
                <a:spcPts val="0"/>
              </a:spcBef>
              <a:spcAft>
                <a:spcPts val="0"/>
              </a:spcAft>
            </a:pPr>
            <a:r>
              <a:rPr lang="pt-BR" dirty="0">
                <a:solidFill>
                  <a:srgbClr val="000000"/>
                </a:solidFill>
                <a:latin typeface="Arial" panose="020B0604020202020204" pitchFamily="34" charset="0"/>
              </a:rPr>
              <a:t>(Distribuidoras\Agricultor)</a:t>
            </a:r>
          </a:p>
        </p:txBody>
      </p:sp>
      <p:pic>
        <p:nvPicPr>
          <p:cNvPr id="5" name="Gráfico 4" descr="Fábrica">
            <a:extLst>
              <a:ext uri="{FF2B5EF4-FFF2-40B4-BE49-F238E27FC236}">
                <a16:creationId xmlns:a16="http://schemas.microsoft.com/office/drawing/2014/main" id="{C5E0EBCC-6BD2-43D6-909E-6BC3156310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3952" y="4168328"/>
            <a:ext cx="1130083" cy="1130083"/>
          </a:xfrm>
          <a:prstGeom prst="rect">
            <a:avLst/>
          </a:prstGeom>
        </p:spPr>
      </p:pic>
    </p:spTree>
    <p:extLst>
      <p:ext uri="{BB962C8B-B14F-4D97-AF65-F5344CB8AC3E}">
        <p14:creationId xmlns:p14="http://schemas.microsoft.com/office/powerpoint/2010/main" val="1762781089"/>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18000">
              <a:srgbClr val="00A5E2"/>
            </a:gs>
            <a:gs pos="100000">
              <a:srgbClr val="00A5E2"/>
            </a:gs>
          </a:gsLst>
          <a:lin ang="6120000" scaled="1"/>
        </a:gradFill>
        <a:effectLst/>
      </p:bgPr>
    </p:bg>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dirty="0" err="1"/>
              <a:t>Logistica</a:t>
            </a:r>
            <a:r>
              <a:rPr lang="en-US" dirty="0"/>
              <a:t> - </a:t>
            </a:r>
            <a:r>
              <a:rPr lang="en-US" dirty="0" err="1"/>
              <a:t>RoundUp</a:t>
            </a:r>
            <a:endParaRPr lang="en-US" dirty="0"/>
          </a:p>
        </p:txBody>
      </p:sp>
      <p:sp>
        <p:nvSpPr>
          <p:cNvPr id="2" name="Title 1"/>
          <p:cNvSpPr>
            <a:spLocks noGrp="1"/>
          </p:cNvSpPr>
          <p:nvPr>
            <p:ph type="title"/>
          </p:nvPr>
        </p:nvSpPr>
        <p:spPr/>
        <p:txBody>
          <a:bodyPr/>
          <a:lstStyle/>
          <a:p>
            <a:r>
              <a:rPr lang="en-US" dirty="0"/>
              <a:t>Distribution CP</a:t>
            </a:r>
          </a:p>
        </p:txBody>
      </p:sp>
      <p:sp>
        <p:nvSpPr>
          <p:cNvPr id="3" name="Text Placeholder 2"/>
          <p:cNvSpPr>
            <a:spLocks noGrp="1"/>
          </p:cNvSpPr>
          <p:nvPr>
            <p:ph sz="quarter" idx="14"/>
          </p:nvPr>
        </p:nvSpPr>
        <p:spPr>
          <a:xfrm>
            <a:off x="981820" y="1732751"/>
            <a:ext cx="10798461" cy="2275115"/>
          </a:xfrm>
        </p:spPr>
        <p:txBody>
          <a:bodyPr/>
          <a:lstStyle/>
          <a:p>
            <a:pPr lvl="0"/>
            <a:r>
              <a:rPr lang="pt-BR" dirty="0"/>
              <a:t>Iniciativas /Participações em projetos / projetos</a:t>
            </a:r>
          </a:p>
          <a:p>
            <a:pPr lvl="1"/>
            <a:r>
              <a:rPr lang="pt-BR" dirty="0"/>
              <a:t>Execução da pesquisa na etapa de RFI</a:t>
            </a:r>
          </a:p>
          <a:p>
            <a:pPr lvl="1"/>
            <a:r>
              <a:rPr lang="pt-BR" dirty="0"/>
              <a:t>Cadastro de Rotas – automação para tratamento e cadastro dos dados</a:t>
            </a:r>
          </a:p>
          <a:p>
            <a:pPr lvl="1"/>
            <a:r>
              <a:rPr lang="pt-BR" dirty="0"/>
              <a:t>Automação de rotina operacional – organizador de arquivos</a:t>
            </a:r>
          </a:p>
          <a:p>
            <a:pPr lvl="1"/>
            <a:r>
              <a:rPr lang="pt-BR" dirty="0"/>
              <a:t>Participação no Projeto da área de </a:t>
            </a:r>
            <a:r>
              <a:rPr lang="pt-BR" dirty="0" err="1"/>
              <a:t>Customer</a:t>
            </a:r>
            <a:r>
              <a:rPr lang="pt-BR" dirty="0"/>
              <a:t> </a:t>
            </a:r>
            <a:r>
              <a:rPr lang="pt-BR" dirty="0" err="1"/>
              <a:t>interaction</a:t>
            </a:r>
            <a:r>
              <a:rPr lang="pt-BR" dirty="0"/>
              <a:t> – automação para enviar e-mails</a:t>
            </a:r>
          </a:p>
          <a:p>
            <a:pPr lvl="1"/>
            <a:r>
              <a:rPr lang="pt-BR" dirty="0" err="1"/>
              <a:t>Innovation</a:t>
            </a:r>
            <a:r>
              <a:rPr lang="pt-BR" dirty="0"/>
              <a:t> Seeds – </a:t>
            </a:r>
            <a:r>
              <a:rPr lang="pt-BR" dirty="0" err="1"/>
              <a:t>Value</a:t>
            </a:r>
            <a:r>
              <a:rPr lang="pt-BR" dirty="0"/>
              <a:t> Capture &amp; </a:t>
            </a:r>
            <a:r>
              <a:rPr lang="pt-BR" dirty="0" err="1"/>
              <a:t>Inventory</a:t>
            </a:r>
            <a:endParaRPr lang="pt-BR" dirty="0"/>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p:txBody>
      </p:sp>
      <p:sp>
        <p:nvSpPr>
          <p:cNvPr id="13" name="Fußzeilenplatzhalter 12"/>
          <p:cNvSpPr>
            <a:spLocks noGrp="1"/>
          </p:cNvSpPr>
          <p:nvPr>
            <p:ph type="ftr" sz="quarter" idx="11"/>
          </p:nvPr>
        </p:nvSpPr>
        <p:spPr/>
        <p:txBody>
          <a:bodyPr/>
          <a:lstStyle/>
          <a:p>
            <a:r>
              <a:rPr lang="en-US"/>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7</a:t>
            </a:fld>
            <a:endParaRPr lang="en-US" dirty="0"/>
          </a:p>
        </p:txBody>
      </p:sp>
    </p:spTree>
    <p:extLst>
      <p:ext uri="{BB962C8B-B14F-4D97-AF65-F5344CB8AC3E}">
        <p14:creationId xmlns:p14="http://schemas.microsoft.com/office/powerpoint/2010/main" val="1181850651"/>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18000">
              <a:schemeClr val="accent4">
                <a:lumMod val="20000"/>
                <a:lumOff val="80000"/>
              </a:schemeClr>
            </a:gs>
            <a:gs pos="100000">
              <a:schemeClr val="accent4">
                <a:lumMod val="75000"/>
              </a:schemeClr>
            </a:gs>
          </a:gsLst>
          <a:lin ang="6120000" scaled="1"/>
        </a:gradFill>
        <a:effectLst/>
      </p:bgPr>
    </p:bg>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dirty="0" err="1"/>
              <a:t>Logistica</a:t>
            </a:r>
            <a:r>
              <a:rPr lang="en-US" dirty="0"/>
              <a:t> - </a:t>
            </a:r>
            <a:r>
              <a:rPr lang="en-US" dirty="0" err="1"/>
              <a:t>RoundUp</a:t>
            </a:r>
            <a:endParaRPr lang="en-US" dirty="0"/>
          </a:p>
        </p:txBody>
      </p:sp>
      <p:sp>
        <p:nvSpPr>
          <p:cNvPr id="2" name="Title 1"/>
          <p:cNvSpPr>
            <a:spLocks noGrp="1"/>
          </p:cNvSpPr>
          <p:nvPr>
            <p:ph type="title"/>
          </p:nvPr>
        </p:nvSpPr>
        <p:spPr/>
        <p:txBody>
          <a:bodyPr/>
          <a:lstStyle/>
          <a:p>
            <a:r>
              <a:rPr lang="en-US" dirty="0"/>
              <a:t>Distribution CP</a:t>
            </a:r>
          </a:p>
        </p:txBody>
      </p:sp>
      <p:sp>
        <p:nvSpPr>
          <p:cNvPr id="13" name="Fußzeilenplatzhalter 12"/>
          <p:cNvSpPr>
            <a:spLocks noGrp="1"/>
          </p:cNvSpPr>
          <p:nvPr>
            <p:ph type="ftr" sz="quarter" idx="11"/>
          </p:nvPr>
        </p:nvSpPr>
        <p:spPr/>
        <p:txBody>
          <a:bodyPr/>
          <a:lstStyle/>
          <a:p>
            <a:r>
              <a:rPr lang="en-US"/>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8</a:t>
            </a:fld>
            <a:endParaRPr lang="en-US" dirty="0"/>
          </a:p>
        </p:txBody>
      </p:sp>
      <p:sp>
        <p:nvSpPr>
          <p:cNvPr id="5" name="Espaço Reservado para Conteúdo 4">
            <a:extLst>
              <a:ext uri="{FF2B5EF4-FFF2-40B4-BE49-F238E27FC236}">
                <a16:creationId xmlns:a16="http://schemas.microsoft.com/office/drawing/2014/main" id="{F9426A47-4786-4B3B-AD78-F3E58D9A4A55}"/>
              </a:ext>
            </a:extLst>
          </p:cNvPr>
          <p:cNvSpPr>
            <a:spLocks noGrp="1"/>
          </p:cNvSpPr>
          <p:nvPr>
            <p:ph sz="quarter" idx="14"/>
          </p:nvPr>
        </p:nvSpPr>
        <p:spPr/>
        <p:txBody>
          <a:bodyPr/>
          <a:lstStyle/>
          <a:p>
            <a:r>
              <a:rPr lang="pt-BR" dirty="0"/>
              <a:t>Automação de rotina operacional – organizador de arquivos</a:t>
            </a:r>
          </a:p>
          <a:p>
            <a:r>
              <a:rPr lang="pt-BR" dirty="0"/>
              <a:t>	Necessidade: </a:t>
            </a:r>
          </a:p>
        </p:txBody>
      </p:sp>
      <p:pic>
        <p:nvPicPr>
          <p:cNvPr id="10" name="Imagem 9">
            <a:extLst>
              <a:ext uri="{FF2B5EF4-FFF2-40B4-BE49-F238E27FC236}">
                <a16:creationId xmlns:a16="http://schemas.microsoft.com/office/drawing/2014/main" id="{6856D673-CD2F-42AC-B5EA-1DB805FC7E1F}"/>
              </a:ext>
            </a:extLst>
          </p:cNvPr>
          <p:cNvPicPr>
            <a:picLocks noChangeAspect="1"/>
          </p:cNvPicPr>
          <p:nvPr/>
        </p:nvPicPr>
        <p:blipFill>
          <a:blip r:embed="rId3"/>
          <a:stretch>
            <a:fillRect/>
          </a:stretch>
        </p:blipFill>
        <p:spPr>
          <a:xfrm>
            <a:off x="4511261" y="2973494"/>
            <a:ext cx="2722313" cy="1728122"/>
          </a:xfrm>
          <a:prstGeom prst="rect">
            <a:avLst/>
          </a:prstGeom>
        </p:spPr>
      </p:pic>
      <p:pic>
        <p:nvPicPr>
          <p:cNvPr id="12" name="Imagem 11">
            <a:extLst>
              <a:ext uri="{FF2B5EF4-FFF2-40B4-BE49-F238E27FC236}">
                <a16:creationId xmlns:a16="http://schemas.microsoft.com/office/drawing/2014/main" id="{658412F4-2056-4C4B-BBF0-27BEA32649D4}"/>
              </a:ext>
            </a:extLst>
          </p:cNvPr>
          <p:cNvPicPr>
            <a:picLocks noChangeAspect="1"/>
          </p:cNvPicPr>
          <p:nvPr/>
        </p:nvPicPr>
        <p:blipFill>
          <a:blip r:embed="rId4"/>
          <a:stretch>
            <a:fillRect/>
          </a:stretch>
        </p:blipFill>
        <p:spPr>
          <a:xfrm>
            <a:off x="510950" y="2891577"/>
            <a:ext cx="3011817" cy="1891957"/>
          </a:xfrm>
          <a:prstGeom prst="rect">
            <a:avLst/>
          </a:prstGeom>
        </p:spPr>
      </p:pic>
      <p:pic>
        <p:nvPicPr>
          <p:cNvPr id="16" name="Imagem 15">
            <a:extLst>
              <a:ext uri="{FF2B5EF4-FFF2-40B4-BE49-F238E27FC236}">
                <a16:creationId xmlns:a16="http://schemas.microsoft.com/office/drawing/2014/main" id="{EA416C02-8A5F-410A-A69D-4B81DC9F185A}"/>
              </a:ext>
            </a:extLst>
          </p:cNvPr>
          <p:cNvPicPr>
            <a:picLocks noChangeAspect="1"/>
          </p:cNvPicPr>
          <p:nvPr/>
        </p:nvPicPr>
        <p:blipFill>
          <a:blip r:embed="rId5"/>
          <a:stretch>
            <a:fillRect/>
          </a:stretch>
        </p:blipFill>
        <p:spPr>
          <a:xfrm>
            <a:off x="8222068" y="2760019"/>
            <a:ext cx="3259493" cy="2047541"/>
          </a:xfrm>
          <a:prstGeom prst="rect">
            <a:avLst/>
          </a:prstGeom>
        </p:spPr>
      </p:pic>
      <p:pic>
        <p:nvPicPr>
          <p:cNvPr id="21" name="Imagem 20">
            <a:extLst>
              <a:ext uri="{FF2B5EF4-FFF2-40B4-BE49-F238E27FC236}">
                <a16:creationId xmlns:a16="http://schemas.microsoft.com/office/drawing/2014/main" id="{542417CC-5AA5-4A26-A5BE-4D89E3866CAE}"/>
              </a:ext>
            </a:extLst>
          </p:cNvPr>
          <p:cNvPicPr>
            <a:picLocks noChangeAspect="1"/>
          </p:cNvPicPr>
          <p:nvPr/>
        </p:nvPicPr>
        <p:blipFill>
          <a:blip r:embed="rId6"/>
          <a:stretch>
            <a:fillRect/>
          </a:stretch>
        </p:blipFill>
        <p:spPr>
          <a:xfrm>
            <a:off x="8245312" y="3595200"/>
            <a:ext cx="3137267" cy="1970761"/>
          </a:xfrm>
          <a:prstGeom prst="rect">
            <a:avLst/>
          </a:prstGeom>
        </p:spPr>
      </p:pic>
      <p:pic>
        <p:nvPicPr>
          <p:cNvPr id="24" name="Imagem 23">
            <a:extLst>
              <a:ext uri="{FF2B5EF4-FFF2-40B4-BE49-F238E27FC236}">
                <a16:creationId xmlns:a16="http://schemas.microsoft.com/office/drawing/2014/main" id="{55E3CF47-C2E3-417B-BDEB-C0BE801C3179}"/>
              </a:ext>
            </a:extLst>
          </p:cNvPr>
          <p:cNvPicPr>
            <a:picLocks noChangeAspect="1"/>
          </p:cNvPicPr>
          <p:nvPr/>
        </p:nvPicPr>
        <p:blipFill>
          <a:blip r:embed="rId7"/>
          <a:stretch>
            <a:fillRect/>
          </a:stretch>
        </p:blipFill>
        <p:spPr>
          <a:xfrm>
            <a:off x="8541704" y="4256369"/>
            <a:ext cx="2666889" cy="1675281"/>
          </a:xfrm>
          <a:prstGeom prst="rect">
            <a:avLst/>
          </a:prstGeom>
        </p:spPr>
      </p:pic>
      <p:pic>
        <p:nvPicPr>
          <p:cNvPr id="26" name="Imagem 25">
            <a:extLst>
              <a:ext uri="{FF2B5EF4-FFF2-40B4-BE49-F238E27FC236}">
                <a16:creationId xmlns:a16="http://schemas.microsoft.com/office/drawing/2014/main" id="{26796C65-6197-4432-964C-7705A4D2AF9F}"/>
              </a:ext>
            </a:extLst>
          </p:cNvPr>
          <p:cNvPicPr>
            <a:picLocks noChangeAspect="1"/>
          </p:cNvPicPr>
          <p:nvPr/>
        </p:nvPicPr>
        <p:blipFill>
          <a:blip r:embed="rId8"/>
          <a:stretch>
            <a:fillRect/>
          </a:stretch>
        </p:blipFill>
        <p:spPr>
          <a:xfrm>
            <a:off x="8756310" y="5016774"/>
            <a:ext cx="2237675" cy="1205658"/>
          </a:xfrm>
          <a:prstGeom prst="rect">
            <a:avLst/>
          </a:prstGeom>
        </p:spPr>
      </p:pic>
      <p:cxnSp>
        <p:nvCxnSpPr>
          <p:cNvPr id="28" name="Conector de Seta Reta 27">
            <a:extLst>
              <a:ext uri="{FF2B5EF4-FFF2-40B4-BE49-F238E27FC236}">
                <a16:creationId xmlns:a16="http://schemas.microsoft.com/office/drawing/2014/main" id="{C728CF26-2ADA-4974-B88B-33D3C945D9C6}"/>
              </a:ext>
            </a:extLst>
          </p:cNvPr>
          <p:cNvCxnSpPr/>
          <p:nvPr/>
        </p:nvCxnSpPr>
        <p:spPr bwMode="gray">
          <a:xfrm>
            <a:off x="3819159" y="3837555"/>
            <a:ext cx="491584"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ector de Seta Reta 67">
            <a:extLst>
              <a:ext uri="{FF2B5EF4-FFF2-40B4-BE49-F238E27FC236}">
                <a16:creationId xmlns:a16="http://schemas.microsoft.com/office/drawing/2014/main" id="{EF5FA142-393B-4A22-AA68-1AFA6CF8BA30}"/>
              </a:ext>
            </a:extLst>
          </p:cNvPr>
          <p:cNvCxnSpPr/>
          <p:nvPr/>
        </p:nvCxnSpPr>
        <p:spPr bwMode="gray">
          <a:xfrm>
            <a:off x="7440473" y="3837555"/>
            <a:ext cx="491584"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 name="CaixaDeTexto 2">
            <a:extLst>
              <a:ext uri="{FF2B5EF4-FFF2-40B4-BE49-F238E27FC236}">
                <a16:creationId xmlns:a16="http://schemas.microsoft.com/office/drawing/2014/main" id="{6072606A-EA69-489B-95F1-38318606B5C4}"/>
              </a:ext>
            </a:extLst>
          </p:cNvPr>
          <p:cNvSpPr txBox="1"/>
          <p:nvPr/>
        </p:nvSpPr>
        <p:spPr bwMode="gray">
          <a:xfrm>
            <a:off x="1660509" y="4918748"/>
            <a:ext cx="914400" cy="510138"/>
          </a:xfrm>
          <a:prstGeom prst="rect">
            <a:avLst/>
          </a:prstGeom>
          <a:noFill/>
        </p:spPr>
        <p:txBody>
          <a:bodyPr vert="horz" wrap="none" lIns="0" tIns="0" rIns="0" bIns="0" rtlCol="0">
            <a:noAutofit/>
          </a:bodyPr>
          <a:lstStyle/>
          <a:p>
            <a:pPr algn="l" rtl="0" eaLnBrk="1" fontAlgn="auto" hangingPunct="1">
              <a:lnSpc>
                <a:spcPct val="100000"/>
              </a:lnSpc>
              <a:spcBef>
                <a:spcPts val="0"/>
              </a:spcBef>
              <a:spcAft>
                <a:spcPts val="0"/>
              </a:spcAft>
            </a:pPr>
            <a:r>
              <a:rPr lang="pt-BR" sz="1800" b="0" i="0" u="none" baseline="0" dirty="0">
                <a:solidFill>
                  <a:srgbClr val="000000"/>
                </a:solidFill>
                <a:latin typeface="Arial" panose="020B0604020202020204" pitchFamily="34" charset="0"/>
              </a:rPr>
              <a:t>Dados</a:t>
            </a:r>
          </a:p>
        </p:txBody>
      </p:sp>
      <p:sp>
        <p:nvSpPr>
          <p:cNvPr id="17" name="CaixaDeTexto 16">
            <a:extLst>
              <a:ext uri="{FF2B5EF4-FFF2-40B4-BE49-F238E27FC236}">
                <a16:creationId xmlns:a16="http://schemas.microsoft.com/office/drawing/2014/main" id="{086AB981-5102-4AE3-AF47-F884FEA396C2}"/>
              </a:ext>
            </a:extLst>
          </p:cNvPr>
          <p:cNvSpPr txBox="1"/>
          <p:nvPr/>
        </p:nvSpPr>
        <p:spPr bwMode="gray">
          <a:xfrm>
            <a:off x="5294672" y="4906356"/>
            <a:ext cx="914400" cy="510138"/>
          </a:xfrm>
          <a:prstGeom prst="rect">
            <a:avLst/>
          </a:prstGeom>
          <a:noFill/>
        </p:spPr>
        <p:txBody>
          <a:bodyPr vert="horz" wrap="none" lIns="0" tIns="0" rIns="0" bIns="0" rtlCol="0">
            <a:noAutofit/>
          </a:bodyPr>
          <a:lstStyle/>
          <a:p>
            <a:pPr algn="l" rtl="0" eaLnBrk="1" fontAlgn="auto" hangingPunct="1">
              <a:lnSpc>
                <a:spcPct val="100000"/>
              </a:lnSpc>
              <a:spcBef>
                <a:spcPts val="0"/>
              </a:spcBef>
              <a:spcAft>
                <a:spcPts val="0"/>
              </a:spcAft>
            </a:pPr>
            <a:r>
              <a:rPr lang="pt-BR" sz="1800" b="0" i="0" u="none" baseline="0" dirty="0">
                <a:solidFill>
                  <a:srgbClr val="000000"/>
                </a:solidFill>
                <a:latin typeface="Arial" panose="020B0604020202020204" pitchFamily="34" charset="0"/>
              </a:rPr>
              <a:t>Tratamentos</a:t>
            </a:r>
          </a:p>
        </p:txBody>
      </p:sp>
      <p:sp>
        <p:nvSpPr>
          <p:cNvPr id="18" name="CaixaDeTexto 17">
            <a:extLst>
              <a:ext uri="{FF2B5EF4-FFF2-40B4-BE49-F238E27FC236}">
                <a16:creationId xmlns:a16="http://schemas.microsoft.com/office/drawing/2014/main" id="{CF4FA2A5-798A-4779-B3BD-13B3E3270B6B}"/>
              </a:ext>
            </a:extLst>
          </p:cNvPr>
          <p:cNvSpPr txBox="1"/>
          <p:nvPr/>
        </p:nvSpPr>
        <p:spPr bwMode="gray">
          <a:xfrm>
            <a:off x="11547777" y="3723525"/>
            <a:ext cx="332763" cy="770449"/>
          </a:xfrm>
          <a:prstGeom prst="rect">
            <a:avLst/>
          </a:prstGeom>
          <a:noFill/>
        </p:spPr>
        <p:txBody>
          <a:bodyPr vert="vert270" wrap="none" lIns="0" tIns="0" rIns="0" bIns="0" rtlCol="0">
            <a:noAutofit/>
          </a:bodyPr>
          <a:lstStyle/>
          <a:p>
            <a:pPr algn="l" rtl="0" eaLnBrk="1" fontAlgn="auto" hangingPunct="1">
              <a:lnSpc>
                <a:spcPct val="100000"/>
              </a:lnSpc>
              <a:spcBef>
                <a:spcPts val="0"/>
              </a:spcBef>
              <a:spcAft>
                <a:spcPts val="0"/>
              </a:spcAft>
            </a:pPr>
            <a:r>
              <a:rPr lang="pt-BR" sz="1800" b="0" i="0" u="none" baseline="0" dirty="0">
                <a:solidFill>
                  <a:srgbClr val="000000"/>
                </a:solidFill>
                <a:latin typeface="Arial" panose="020B0604020202020204" pitchFamily="34" charset="0"/>
              </a:rPr>
              <a:t>Output</a:t>
            </a:r>
          </a:p>
        </p:txBody>
      </p:sp>
      <p:pic>
        <p:nvPicPr>
          <p:cNvPr id="19" name="Imagem 18">
            <a:extLst>
              <a:ext uri="{FF2B5EF4-FFF2-40B4-BE49-F238E27FC236}">
                <a16:creationId xmlns:a16="http://schemas.microsoft.com/office/drawing/2014/main" id="{6B932FDC-8FB2-4B63-9F67-0485F0D47B26}"/>
              </a:ext>
            </a:extLst>
          </p:cNvPr>
          <p:cNvPicPr>
            <a:picLocks noChangeAspect="1"/>
          </p:cNvPicPr>
          <p:nvPr/>
        </p:nvPicPr>
        <p:blipFill>
          <a:blip r:embed="rId9"/>
          <a:stretch>
            <a:fillRect/>
          </a:stretch>
        </p:blipFill>
        <p:spPr>
          <a:xfrm>
            <a:off x="7109330" y="4493974"/>
            <a:ext cx="347471" cy="347471"/>
          </a:xfrm>
          <a:prstGeom prst="rect">
            <a:avLst/>
          </a:prstGeom>
        </p:spPr>
      </p:pic>
    </p:spTree>
    <p:extLst>
      <p:ext uri="{BB962C8B-B14F-4D97-AF65-F5344CB8AC3E}">
        <p14:creationId xmlns:p14="http://schemas.microsoft.com/office/powerpoint/2010/main" val="1832253085"/>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18000">
              <a:srgbClr val="00A5E2"/>
            </a:gs>
            <a:gs pos="100000">
              <a:srgbClr val="00A5E2"/>
            </a:gs>
          </a:gsLst>
          <a:lin ang="6120000" scaled="1"/>
        </a:gradFill>
        <a:effectLst/>
      </p:bgPr>
    </p:bg>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dirty="0" err="1"/>
              <a:t>Logistica</a:t>
            </a:r>
            <a:r>
              <a:rPr lang="en-US" dirty="0"/>
              <a:t> - </a:t>
            </a:r>
            <a:r>
              <a:rPr lang="en-US" dirty="0" err="1"/>
              <a:t>RoundUp</a:t>
            </a:r>
            <a:endParaRPr lang="en-US" dirty="0"/>
          </a:p>
        </p:txBody>
      </p:sp>
      <p:sp>
        <p:nvSpPr>
          <p:cNvPr id="2" name="Title 1"/>
          <p:cNvSpPr>
            <a:spLocks noGrp="1"/>
          </p:cNvSpPr>
          <p:nvPr>
            <p:ph type="title"/>
          </p:nvPr>
        </p:nvSpPr>
        <p:spPr/>
        <p:txBody>
          <a:bodyPr/>
          <a:lstStyle/>
          <a:p>
            <a:r>
              <a:rPr lang="en-US" b="1" dirty="0"/>
              <a:t>Distribution CP</a:t>
            </a:r>
          </a:p>
        </p:txBody>
      </p:sp>
      <p:sp>
        <p:nvSpPr>
          <p:cNvPr id="3" name="Text Placeholder 2"/>
          <p:cNvSpPr>
            <a:spLocks noGrp="1"/>
          </p:cNvSpPr>
          <p:nvPr>
            <p:ph sz="quarter" idx="14"/>
          </p:nvPr>
        </p:nvSpPr>
        <p:spPr>
          <a:xfrm>
            <a:off x="981820" y="1732751"/>
            <a:ext cx="10798461" cy="2275115"/>
          </a:xfrm>
        </p:spPr>
        <p:txBody>
          <a:bodyPr/>
          <a:lstStyle/>
          <a:p>
            <a:r>
              <a:rPr lang="en-US" dirty="0" err="1"/>
              <a:t>Pesquisa</a:t>
            </a:r>
            <a:r>
              <a:rPr lang="en-US" dirty="0"/>
              <a:t> RFI</a:t>
            </a:r>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a:p>
            <a:pPr marL="555750" lvl="1" indent="-285750">
              <a:buFontTx/>
              <a:buChar char="-"/>
            </a:pPr>
            <a:endParaRPr lang="en-US" dirty="0"/>
          </a:p>
        </p:txBody>
      </p:sp>
      <p:sp>
        <p:nvSpPr>
          <p:cNvPr id="13" name="Fußzeilenplatzhalter 12"/>
          <p:cNvSpPr>
            <a:spLocks noGrp="1"/>
          </p:cNvSpPr>
          <p:nvPr>
            <p:ph type="ftr" sz="quarter" idx="11"/>
          </p:nvPr>
        </p:nvSpPr>
        <p:spPr/>
        <p:txBody>
          <a:bodyPr/>
          <a:lstStyle/>
          <a:p>
            <a:r>
              <a:rPr lang="en-US"/>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9</a:t>
            </a:fld>
            <a:endParaRPr lang="en-US" dirty="0"/>
          </a:p>
        </p:txBody>
      </p:sp>
      <p:grpSp>
        <p:nvGrpSpPr>
          <p:cNvPr id="7" name="组合 50">
            <a:extLst>
              <a:ext uri="{FF2B5EF4-FFF2-40B4-BE49-F238E27FC236}">
                <a16:creationId xmlns:a16="http://schemas.microsoft.com/office/drawing/2014/main" id="{446649DD-850A-4A66-8868-A91B7B7BDBCC}"/>
              </a:ext>
            </a:extLst>
          </p:cNvPr>
          <p:cNvGrpSpPr/>
          <p:nvPr/>
        </p:nvGrpSpPr>
        <p:grpSpPr>
          <a:xfrm>
            <a:off x="7510524" y="596121"/>
            <a:ext cx="3636669" cy="3634378"/>
            <a:chOff x="1608287" y="1273175"/>
            <a:chExt cx="5041900" cy="5038725"/>
          </a:xfrm>
        </p:grpSpPr>
        <p:grpSp>
          <p:nvGrpSpPr>
            <p:cNvPr id="8" name="Group 22">
              <a:extLst>
                <a:ext uri="{FF2B5EF4-FFF2-40B4-BE49-F238E27FC236}">
                  <a16:creationId xmlns:a16="http://schemas.microsoft.com/office/drawing/2014/main" id="{AA08AA30-B35E-4A27-B3CC-E3A8049B107E}"/>
                </a:ext>
              </a:extLst>
            </p:cNvPr>
            <p:cNvGrpSpPr>
              <a:grpSpLocks/>
            </p:cNvGrpSpPr>
            <p:nvPr/>
          </p:nvGrpSpPr>
          <p:grpSpPr bwMode="auto">
            <a:xfrm>
              <a:off x="1608287" y="1273175"/>
              <a:ext cx="5041900" cy="5038725"/>
              <a:chOff x="265" y="802"/>
              <a:chExt cx="3176" cy="3174"/>
            </a:xfrm>
          </p:grpSpPr>
          <p:sp>
            <p:nvSpPr>
              <p:cNvPr id="41" name="Freeform 23">
                <a:extLst>
                  <a:ext uri="{FF2B5EF4-FFF2-40B4-BE49-F238E27FC236}">
                    <a16:creationId xmlns:a16="http://schemas.microsoft.com/office/drawing/2014/main" id="{28467F0D-8AAA-461F-9237-A1ECF0BD1A03}"/>
                  </a:ext>
                </a:extLst>
              </p:cNvPr>
              <p:cNvSpPr>
                <a:spLocks/>
              </p:cNvSpPr>
              <p:nvPr/>
            </p:nvSpPr>
            <p:spPr bwMode="auto">
              <a:xfrm>
                <a:off x="848" y="1883"/>
                <a:ext cx="567" cy="471"/>
              </a:xfrm>
              <a:custGeom>
                <a:avLst/>
                <a:gdLst/>
                <a:ahLst/>
                <a:cxnLst>
                  <a:cxn ang="0">
                    <a:pos x="2645" y="2550"/>
                  </a:cxn>
                  <a:cxn ang="0">
                    <a:pos x="2684" y="2454"/>
                  </a:cxn>
                  <a:cxn ang="0">
                    <a:pos x="2779" y="2418"/>
                  </a:cxn>
                  <a:cxn ang="0">
                    <a:pos x="2858" y="2231"/>
                  </a:cxn>
                  <a:cxn ang="0">
                    <a:pos x="2956" y="2159"/>
                  </a:cxn>
                  <a:cxn ang="0">
                    <a:pos x="3027" y="2003"/>
                  </a:cxn>
                  <a:cxn ang="0">
                    <a:pos x="3015" y="1836"/>
                  </a:cxn>
                  <a:cxn ang="0">
                    <a:pos x="2944" y="1716"/>
                  </a:cxn>
                  <a:cxn ang="0">
                    <a:pos x="2921" y="1608"/>
                  </a:cxn>
                  <a:cxn ang="0">
                    <a:pos x="3015" y="1536"/>
                  </a:cxn>
                  <a:cxn ang="0">
                    <a:pos x="2988" y="1417"/>
                  </a:cxn>
                  <a:cxn ang="0">
                    <a:pos x="2858" y="1405"/>
                  </a:cxn>
                  <a:cxn ang="0">
                    <a:pos x="2775" y="1341"/>
                  </a:cxn>
                  <a:cxn ang="0">
                    <a:pos x="2539" y="1345"/>
                  </a:cxn>
                  <a:cxn ang="0">
                    <a:pos x="2318" y="1341"/>
                  </a:cxn>
                  <a:cxn ang="0">
                    <a:pos x="2291" y="962"/>
                  </a:cxn>
                  <a:cxn ang="0">
                    <a:pos x="2342" y="854"/>
                  </a:cxn>
                  <a:cxn ang="0">
                    <a:pos x="2271" y="591"/>
                  </a:cxn>
                  <a:cxn ang="0">
                    <a:pos x="2314" y="479"/>
                  </a:cxn>
                  <a:cxn ang="0">
                    <a:pos x="2318" y="360"/>
                  </a:cxn>
                  <a:cxn ang="0">
                    <a:pos x="2198" y="334"/>
                  </a:cxn>
                  <a:cxn ang="0">
                    <a:pos x="2102" y="394"/>
                  </a:cxn>
                  <a:cxn ang="0">
                    <a:pos x="1949" y="204"/>
                  </a:cxn>
                  <a:cxn ang="0">
                    <a:pos x="1824" y="114"/>
                  </a:cxn>
                  <a:cxn ang="0">
                    <a:pos x="1725" y="0"/>
                  </a:cxn>
                  <a:cxn ang="0">
                    <a:pos x="1484" y="16"/>
                  </a:cxn>
                  <a:cxn ang="0">
                    <a:pos x="1241" y="180"/>
                  </a:cxn>
                  <a:cxn ang="0">
                    <a:pos x="1244" y="297"/>
                  </a:cxn>
                  <a:cxn ang="0">
                    <a:pos x="1185" y="411"/>
                  </a:cxn>
                  <a:cxn ang="0">
                    <a:pos x="990" y="459"/>
                  </a:cxn>
                  <a:cxn ang="0">
                    <a:pos x="855" y="468"/>
                  </a:cxn>
                  <a:cxn ang="0">
                    <a:pos x="771" y="563"/>
                  </a:cxn>
                  <a:cxn ang="0">
                    <a:pos x="676" y="591"/>
                  </a:cxn>
                  <a:cxn ang="0">
                    <a:pos x="428" y="627"/>
                  </a:cxn>
                  <a:cxn ang="0">
                    <a:pos x="158" y="625"/>
                  </a:cxn>
                  <a:cxn ang="0">
                    <a:pos x="110" y="741"/>
                  </a:cxn>
                  <a:cxn ang="0">
                    <a:pos x="0" y="807"/>
                  </a:cxn>
                  <a:cxn ang="0">
                    <a:pos x="62" y="886"/>
                  </a:cxn>
                  <a:cxn ang="0">
                    <a:pos x="153" y="825"/>
                  </a:cxn>
                  <a:cxn ang="0">
                    <a:pos x="300" y="817"/>
                  </a:cxn>
                  <a:cxn ang="0">
                    <a:pos x="452" y="783"/>
                  </a:cxn>
                  <a:cxn ang="0">
                    <a:pos x="542" y="825"/>
                  </a:cxn>
                  <a:cxn ang="0">
                    <a:pos x="603" y="783"/>
                  </a:cxn>
                  <a:cxn ang="0">
                    <a:pos x="674" y="828"/>
                  </a:cxn>
                  <a:cxn ang="0">
                    <a:pos x="660" y="1018"/>
                  </a:cxn>
                  <a:cxn ang="0">
                    <a:pos x="593" y="1161"/>
                  </a:cxn>
                  <a:cxn ang="0">
                    <a:pos x="676" y="1345"/>
                  </a:cxn>
                  <a:cxn ang="0">
                    <a:pos x="629" y="1465"/>
                  </a:cxn>
                  <a:cxn ang="0">
                    <a:pos x="688" y="1596"/>
                  </a:cxn>
                  <a:cxn ang="0">
                    <a:pos x="708" y="1680"/>
                  </a:cxn>
                  <a:cxn ang="0">
                    <a:pos x="838" y="1788"/>
                  </a:cxn>
                  <a:cxn ang="0">
                    <a:pos x="991" y="1896"/>
                  </a:cxn>
                  <a:cxn ang="0">
                    <a:pos x="1038" y="1975"/>
                  </a:cxn>
                  <a:cxn ang="0">
                    <a:pos x="1216" y="2015"/>
                  </a:cxn>
                  <a:cxn ang="0">
                    <a:pos x="1373" y="1999"/>
                  </a:cxn>
                  <a:cxn ang="0">
                    <a:pos x="1539" y="2131"/>
                  </a:cxn>
                  <a:cxn ang="0">
                    <a:pos x="1605" y="2071"/>
                  </a:cxn>
                  <a:cxn ang="0">
                    <a:pos x="1735" y="2243"/>
                  </a:cxn>
                  <a:cxn ang="0">
                    <a:pos x="1999" y="2279"/>
                  </a:cxn>
                  <a:cxn ang="0">
                    <a:pos x="2090" y="2398"/>
                  </a:cxn>
                  <a:cxn ang="0">
                    <a:pos x="2184" y="2458"/>
                  </a:cxn>
                  <a:cxn ang="0">
                    <a:pos x="2460" y="2466"/>
                  </a:cxn>
                  <a:cxn ang="0">
                    <a:pos x="2645" y="2550"/>
                  </a:cxn>
                </a:cxnLst>
                <a:rect l="0" t="0" r="r" b="b"/>
                <a:pathLst>
                  <a:path w="3027" h="2550">
                    <a:moveTo>
                      <a:pt x="2645" y="2550"/>
                    </a:moveTo>
                    <a:lnTo>
                      <a:pt x="2684" y="2454"/>
                    </a:lnTo>
                    <a:lnTo>
                      <a:pt x="2779" y="2418"/>
                    </a:lnTo>
                    <a:lnTo>
                      <a:pt x="2858" y="2231"/>
                    </a:lnTo>
                    <a:lnTo>
                      <a:pt x="2956" y="2159"/>
                    </a:lnTo>
                    <a:lnTo>
                      <a:pt x="3027" y="2003"/>
                    </a:lnTo>
                    <a:lnTo>
                      <a:pt x="3015" y="1836"/>
                    </a:lnTo>
                    <a:lnTo>
                      <a:pt x="2944" y="1716"/>
                    </a:lnTo>
                    <a:lnTo>
                      <a:pt x="2921" y="1608"/>
                    </a:lnTo>
                    <a:lnTo>
                      <a:pt x="3015" y="1536"/>
                    </a:lnTo>
                    <a:lnTo>
                      <a:pt x="2988" y="1417"/>
                    </a:lnTo>
                    <a:lnTo>
                      <a:pt x="2858" y="1405"/>
                    </a:lnTo>
                    <a:lnTo>
                      <a:pt x="2775" y="1341"/>
                    </a:lnTo>
                    <a:lnTo>
                      <a:pt x="2539" y="1345"/>
                    </a:lnTo>
                    <a:lnTo>
                      <a:pt x="2318" y="1341"/>
                    </a:lnTo>
                    <a:lnTo>
                      <a:pt x="2291" y="962"/>
                    </a:lnTo>
                    <a:lnTo>
                      <a:pt x="2342" y="854"/>
                    </a:lnTo>
                    <a:lnTo>
                      <a:pt x="2271" y="591"/>
                    </a:lnTo>
                    <a:lnTo>
                      <a:pt x="2314" y="479"/>
                    </a:lnTo>
                    <a:lnTo>
                      <a:pt x="2318" y="360"/>
                    </a:lnTo>
                    <a:lnTo>
                      <a:pt x="2198" y="334"/>
                    </a:lnTo>
                    <a:lnTo>
                      <a:pt x="2102" y="394"/>
                    </a:lnTo>
                    <a:lnTo>
                      <a:pt x="1949" y="204"/>
                    </a:lnTo>
                    <a:lnTo>
                      <a:pt x="1824" y="114"/>
                    </a:lnTo>
                    <a:lnTo>
                      <a:pt x="1725" y="0"/>
                    </a:lnTo>
                    <a:lnTo>
                      <a:pt x="1484" y="16"/>
                    </a:lnTo>
                    <a:lnTo>
                      <a:pt x="1241" y="180"/>
                    </a:lnTo>
                    <a:lnTo>
                      <a:pt x="1244" y="297"/>
                    </a:lnTo>
                    <a:lnTo>
                      <a:pt x="1185" y="411"/>
                    </a:lnTo>
                    <a:lnTo>
                      <a:pt x="990" y="459"/>
                    </a:lnTo>
                    <a:lnTo>
                      <a:pt x="855" y="468"/>
                    </a:lnTo>
                    <a:lnTo>
                      <a:pt x="771" y="563"/>
                    </a:lnTo>
                    <a:lnTo>
                      <a:pt x="676" y="591"/>
                    </a:lnTo>
                    <a:lnTo>
                      <a:pt x="428" y="627"/>
                    </a:lnTo>
                    <a:lnTo>
                      <a:pt x="158" y="625"/>
                    </a:lnTo>
                    <a:lnTo>
                      <a:pt x="110" y="741"/>
                    </a:lnTo>
                    <a:lnTo>
                      <a:pt x="0" y="807"/>
                    </a:lnTo>
                    <a:lnTo>
                      <a:pt x="62" y="886"/>
                    </a:lnTo>
                    <a:lnTo>
                      <a:pt x="153" y="825"/>
                    </a:lnTo>
                    <a:lnTo>
                      <a:pt x="300" y="817"/>
                    </a:lnTo>
                    <a:lnTo>
                      <a:pt x="452" y="783"/>
                    </a:lnTo>
                    <a:lnTo>
                      <a:pt x="542" y="825"/>
                    </a:lnTo>
                    <a:lnTo>
                      <a:pt x="603" y="783"/>
                    </a:lnTo>
                    <a:lnTo>
                      <a:pt x="674" y="828"/>
                    </a:lnTo>
                    <a:lnTo>
                      <a:pt x="660" y="1018"/>
                    </a:lnTo>
                    <a:lnTo>
                      <a:pt x="593" y="1161"/>
                    </a:lnTo>
                    <a:lnTo>
                      <a:pt x="676" y="1345"/>
                    </a:lnTo>
                    <a:lnTo>
                      <a:pt x="629" y="1465"/>
                    </a:lnTo>
                    <a:lnTo>
                      <a:pt x="688" y="1596"/>
                    </a:lnTo>
                    <a:lnTo>
                      <a:pt x="708" y="1680"/>
                    </a:lnTo>
                    <a:lnTo>
                      <a:pt x="838" y="1788"/>
                    </a:lnTo>
                    <a:lnTo>
                      <a:pt x="991" y="1896"/>
                    </a:lnTo>
                    <a:lnTo>
                      <a:pt x="1038" y="1975"/>
                    </a:lnTo>
                    <a:lnTo>
                      <a:pt x="1216" y="2015"/>
                    </a:lnTo>
                    <a:lnTo>
                      <a:pt x="1373" y="1999"/>
                    </a:lnTo>
                    <a:lnTo>
                      <a:pt x="1539" y="2131"/>
                    </a:lnTo>
                    <a:lnTo>
                      <a:pt x="1605" y="2071"/>
                    </a:lnTo>
                    <a:lnTo>
                      <a:pt x="1735" y="2243"/>
                    </a:lnTo>
                    <a:lnTo>
                      <a:pt x="1999" y="2279"/>
                    </a:lnTo>
                    <a:lnTo>
                      <a:pt x="2090" y="2398"/>
                    </a:lnTo>
                    <a:lnTo>
                      <a:pt x="2184" y="2458"/>
                    </a:lnTo>
                    <a:lnTo>
                      <a:pt x="2460" y="2466"/>
                    </a:lnTo>
                    <a:lnTo>
                      <a:pt x="2645" y="255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2" name="Freeform 24">
                <a:extLst>
                  <a:ext uri="{FF2B5EF4-FFF2-40B4-BE49-F238E27FC236}">
                    <a16:creationId xmlns:a16="http://schemas.microsoft.com/office/drawing/2014/main" id="{CF748B10-7EE5-4461-B418-AA5050D209A2}"/>
                  </a:ext>
                </a:extLst>
              </p:cNvPr>
              <p:cNvSpPr>
                <a:spLocks/>
              </p:cNvSpPr>
              <p:nvPr/>
            </p:nvSpPr>
            <p:spPr bwMode="auto">
              <a:xfrm>
                <a:off x="265" y="1819"/>
                <a:ext cx="594" cy="325"/>
              </a:xfrm>
              <a:custGeom>
                <a:avLst/>
                <a:gdLst/>
                <a:ahLst/>
                <a:cxnLst>
                  <a:cxn ang="0">
                    <a:pos x="101" y="0"/>
                  </a:cxn>
                  <a:cxn ang="0">
                    <a:pos x="0" y="226"/>
                  </a:cxn>
                  <a:cxn ang="0">
                    <a:pos x="94" y="341"/>
                  </a:cxn>
                  <a:cxn ang="0">
                    <a:pos x="261" y="695"/>
                  </a:cxn>
                  <a:cxn ang="0">
                    <a:pos x="562" y="1078"/>
                  </a:cxn>
                  <a:cxn ang="0">
                    <a:pos x="445" y="1236"/>
                  </a:cxn>
                  <a:cxn ang="0">
                    <a:pos x="652" y="1266"/>
                  </a:cxn>
                  <a:cxn ang="0">
                    <a:pos x="828" y="1316"/>
                  </a:cxn>
                  <a:cxn ang="0">
                    <a:pos x="947" y="1415"/>
                  </a:cxn>
                  <a:cxn ang="0">
                    <a:pos x="1060" y="1585"/>
                  </a:cxn>
                  <a:cxn ang="0">
                    <a:pos x="1508" y="1565"/>
                  </a:cxn>
                  <a:cxn ang="0">
                    <a:pos x="1828" y="1284"/>
                  </a:cxn>
                  <a:cxn ang="0">
                    <a:pos x="1887" y="1435"/>
                  </a:cxn>
                  <a:cxn ang="0">
                    <a:pos x="1813" y="1570"/>
                  </a:cxn>
                  <a:cxn ang="0">
                    <a:pos x="1847" y="2049"/>
                  </a:cxn>
                  <a:cxn ang="0">
                    <a:pos x="2004" y="2164"/>
                  </a:cxn>
                  <a:cxn ang="0">
                    <a:pos x="2187" y="2089"/>
                  </a:cxn>
                  <a:cxn ang="0">
                    <a:pos x="2420" y="2085"/>
                  </a:cxn>
                  <a:cxn ang="0">
                    <a:pos x="2674" y="2094"/>
                  </a:cxn>
                  <a:cxn ang="0">
                    <a:pos x="2880" y="2199"/>
                  </a:cxn>
                  <a:cxn ang="0">
                    <a:pos x="3052" y="2164"/>
                  </a:cxn>
                  <a:cxn ang="0">
                    <a:pos x="3279" y="1939"/>
                  </a:cxn>
                  <a:cxn ang="0">
                    <a:pos x="3451" y="1944"/>
                  </a:cxn>
                  <a:cxn ang="0">
                    <a:pos x="3775" y="1705"/>
                  </a:cxn>
                  <a:cxn ang="0">
                    <a:pos x="3967" y="1540"/>
                  </a:cxn>
                  <a:cxn ang="0">
                    <a:pos x="3893" y="1435"/>
                  </a:cxn>
                  <a:cxn ang="0">
                    <a:pos x="3627" y="1346"/>
                  </a:cxn>
                  <a:cxn ang="0">
                    <a:pos x="2801" y="956"/>
                  </a:cxn>
                  <a:cxn ang="0">
                    <a:pos x="2299" y="718"/>
                  </a:cxn>
                  <a:cxn ang="0">
                    <a:pos x="2063" y="538"/>
                  </a:cxn>
                  <a:cxn ang="0">
                    <a:pos x="1611" y="448"/>
                  </a:cxn>
                  <a:cxn ang="0">
                    <a:pos x="1006" y="269"/>
                  </a:cxn>
                  <a:cxn ang="0">
                    <a:pos x="868" y="254"/>
                  </a:cxn>
                  <a:cxn ang="0">
                    <a:pos x="101" y="0"/>
                  </a:cxn>
                </a:cxnLst>
                <a:rect l="0" t="0" r="r" b="b"/>
                <a:pathLst>
                  <a:path w="3967" h="2199">
                    <a:moveTo>
                      <a:pt x="101" y="0"/>
                    </a:moveTo>
                    <a:lnTo>
                      <a:pt x="0" y="226"/>
                    </a:lnTo>
                    <a:lnTo>
                      <a:pt x="94" y="341"/>
                    </a:lnTo>
                    <a:lnTo>
                      <a:pt x="261" y="695"/>
                    </a:lnTo>
                    <a:lnTo>
                      <a:pt x="562" y="1078"/>
                    </a:lnTo>
                    <a:lnTo>
                      <a:pt x="445" y="1236"/>
                    </a:lnTo>
                    <a:lnTo>
                      <a:pt x="652" y="1266"/>
                    </a:lnTo>
                    <a:lnTo>
                      <a:pt x="828" y="1316"/>
                    </a:lnTo>
                    <a:lnTo>
                      <a:pt x="947" y="1415"/>
                    </a:lnTo>
                    <a:lnTo>
                      <a:pt x="1060" y="1585"/>
                    </a:lnTo>
                    <a:lnTo>
                      <a:pt x="1508" y="1565"/>
                    </a:lnTo>
                    <a:lnTo>
                      <a:pt x="1828" y="1284"/>
                    </a:lnTo>
                    <a:lnTo>
                      <a:pt x="1887" y="1435"/>
                    </a:lnTo>
                    <a:lnTo>
                      <a:pt x="1813" y="1570"/>
                    </a:lnTo>
                    <a:lnTo>
                      <a:pt x="1847" y="2049"/>
                    </a:lnTo>
                    <a:lnTo>
                      <a:pt x="2004" y="2164"/>
                    </a:lnTo>
                    <a:lnTo>
                      <a:pt x="2187" y="2089"/>
                    </a:lnTo>
                    <a:lnTo>
                      <a:pt x="2420" y="2085"/>
                    </a:lnTo>
                    <a:lnTo>
                      <a:pt x="2674" y="2094"/>
                    </a:lnTo>
                    <a:lnTo>
                      <a:pt x="2880" y="2199"/>
                    </a:lnTo>
                    <a:lnTo>
                      <a:pt x="3052" y="2164"/>
                    </a:lnTo>
                    <a:lnTo>
                      <a:pt x="3279" y="1939"/>
                    </a:lnTo>
                    <a:lnTo>
                      <a:pt x="3451" y="1944"/>
                    </a:lnTo>
                    <a:lnTo>
                      <a:pt x="3775" y="1705"/>
                    </a:lnTo>
                    <a:lnTo>
                      <a:pt x="3967" y="1540"/>
                    </a:lnTo>
                    <a:lnTo>
                      <a:pt x="3893" y="1435"/>
                    </a:lnTo>
                    <a:lnTo>
                      <a:pt x="3627" y="1346"/>
                    </a:lnTo>
                    <a:lnTo>
                      <a:pt x="2801" y="956"/>
                    </a:lnTo>
                    <a:lnTo>
                      <a:pt x="2299" y="718"/>
                    </a:lnTo>
                    <a:lnTo>
                      <a:pt x="2063" y="538"/>
                    </a:lnTo>
                    <a:lnTo>
                      <a:pt x="1611" y="448"/>
                    </a:lnTo>
                    <a:lnTo>
                      <a:pt x="1006" y="269"/>
                    </a:lnTo>
                    <a:lnTo>
                      <a:pt x="868" y="254"/>
                    </a:lnTo>
                    <a:lnTo>
                      <a:pt x="101"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3" name="Freeform 25">
                <a:extLst>
                  <a:ext uri="{FF2B5EF4-FFF2-40B4-BE49-F238E27FC236}">
                    <a16:creationId xmlns:a16="http://schemas.microsoft.com/office/drawing/2014/main" id="{E418B519-2FCD-4084-8728-8B35B3A42E4E}"/>
                  </a:ext>
                </a:extLst>
              </p:cNvPr>
              <p:cNvSpPr>
                <a:spLocks/>
              </p:cNvSpPr>
              <p:nvPr/>
            </p:nvSpPr>
            <p:spPr bwMode="auto">
              <a:xfrm>
                <a:off x="280" y="1053"/>
                <a:ext cx="1429" cy="979"/>
              </a:xfrm>
              <a:custGeom>
                <a:avLst/>
                <a:gdLst/>
                <a:ahLst/>
                <a:cxnLst>
                  <a:cxn ang="0">
                    <a:pos x="2374" y="189"/>
                  </a:cxn>
                  <a:cxn ang="0">
                    <a:pos x="1961" y="208"/>
                  </a:cxn>
                  <a:cxn ang="0">
                    <a:pos x="1713" y="304"/>
                  </a:cxn>
                  <a:cxn ang="0">
                    <a:pos x="1799" y="512"/>
                  </a:cxn>
                  <a:cxn ang="0">
                    <a:pos x="2008" y="572"/>
                  </a:cxn>
                  <a:cxn ang="0">
                    <a:pos x="1941" y="691"/>
                  </a:cxn>
                  <a:cxn ang="0">
                    <a:pos x="1729" y="715"/>
                  </a:cxn>
                  <a:cxn ang="0">
                    <a:pos x="1599" y="927"/>
                  </a:cxn>
                  <a:cxn ang="0">
                    <a:pos x="1811" y="1206"/>
                  </a:cxn>
                  <a:cxn ang="0">
                    <a:pos x="1902" y="1453"/>
                  </a:cxn>
                  <a:cxn ang="0">
                    <a:pos x="1878" y="1693"/>
                  </a:cxn>
                  <a:cxn ang="0">
                    <a:pos x="1559" y="2918"/>
                  </a:cxn>
                  <a:cxn ang="0">
                    <a:pos x="1288" y="2822"/>
                  </a:cxn>
                  <a:cxn ang="0">
                    <a:pos x="1087" y="2938"/>
                  </a:cxn>
                  <a:cxn ang="0">
                    <a:pos x="366" y="3281"/>
                  </a:cxn>
                  <a:cxn ang="0">
                    <a:pos x="240" y="3612"/>
                  </a:cxn>
                  <a:cxn ang="0">
                    <a:pos x="276" y="3852"/>
                  </a:cxn>
                  <a:cxn ang="0">
                    <a:pos x="12" y="4039"/>
                  </a:cxn>
                  <a:cxn ang="0">
                    <a:pos x="619" y="4356"/>
                  </a:cxn>
                  <a:cxn ang="0">
                    <a:pos x="1215" y="4512"/>
                  </a:cxn>
                  <a:cxn ang="0">
                    <a:pos x="1764" y="4729"/>
                  </a:cxn>
                  <a:cxn ang="0">
                    <a:pos x="3036" y="5300"/>
                  </a:cxn>
                  <a:cxn ang="0">
                    <a:pos x="3193" y="5120"/>
                  </a:cxn>
                  <a:cxn ang="0">
                    <a:pos x="3708" y="5085"/>
                  </a:cxn>
                  <a:cxn ang="0">
                    <a:pos x="3890" y="4961"/>
                  </a:cxn>
                  <a:cxn ang="0">
                    <a:pos x="4221" y="4905"/>
                  </a:cxn>
                  <a:cxn ang="0">
                    <a:pos x="4280" y="4674"/>
                  </a:cxn>
                  <a:cxn ang="0">
                    <a:pos x="4761" y="4494"/>
                  </a:cxn>
                  <a:cxn ang="0">
                    <a:pos x="4989" y="4701"/>
                  </a:cxn>
                  <a:cxn ang="0">
                    <a:pos x="5233" y="4829"/>
                  </a:cxn>
                  <a:cxn ang="0">
                    <a:pos x="6674" y="4853"/>
                  </a:cxn>
                  <a:cxn ang="0">
                    <a:pos x="6796" y="4123"/>
                  </a:cxn>
                  <a:cxn ang="0">
                    <a:pos x="7635" y="2040"/>
                  </a:cxn>
                  <a:cxn ang="0">
                    <a:pos x="7099" y="1661"/>
                  </a:cxn>
                  <a:cxn ang="0">
                    <a:pos x="6621" y="1291"/>
                  </a:cxn>
                  <a:cxn ang="0">
                    <a:pos x="6548" y="951"/>
                  </a:cxn>
                  <a:cxn ang="0">
                    <a:pos x="6300" y="871"/>
                  </a:cxn>
                  <a:cxn ang="0">
                    <a:pos x="5970" y="955"/>
                  </a:cxn>
                  <a:cxn ang="0">
                    <a:pos x="5895" y="1240"/>
                  </a:cxn>
                  <a:cxn ang="0">
                    <a:pos x="5745" y="1327"/>
                  </a:cxn>
                  <a:cxn ang="0">
                    <a:pos x="5473" y="1190"/>
                  </a:cxn>
                  <a:cxn ang="0">
                    <a:pos x="5341" y="1467"/>
                  </a:cxn>
                  <a:cxn ang="0">
                    <a:pos x="5208" y="1576"/>
                  </a:cxn>
                  <a:cxn ang="0">
                    <a:pos x="4954" y="1338"/>
                  </a:cxn>
                  <a:cxn ang="0">
                    <a:pos x="5013" y="1137"/>
                  </a:cxn>
                  <a:cxn ang="0">
                    <a:pos x="4953" y="577"/>
                  </a:cxn>
                  <a:cxn ang="0">
                    <a:pos x="4822" y="258"/>
                  </a:cxn>
                  <a:cxn ang="0">
                    <a:pos x="4678" y="69"/>
                  </a:cxn>
                  <a:cxn ang="0">
                    <a:pos x="4381" y="78"/>
                  </a:cxn>
                  <a:cxn ang="0">
                    <a:pos x="4246" y="237"/>
                  </a:cxn>
                  <a:cxn ang="0">
                    <a:pos x="4040" y="352"/>
                  </a:cxn>
                  <a:cxn ang="0">
                    <a:pos x="3607" y="687"/>
                  </a:cxn>
                  <a:cxn ang="0">
                    <a:pos x="3497" y="536"/>
                  </a:cxn>
                  <a:cxn ang="0">
                    <a:pos x="3012" y="416"/>
                  </a:cxn>
                  <a:cxn ang="0">
                    <a:pos x="2922" y="256"/>
                  </a:cxn>
                  <a:cxn ang="0">
                    <a:pos x="2804" y="9"/>
                  </a:cxn>
                  <a:cxn ang="0">
                    <a:pos x="2551" y="208"/>
                  </a:cxn>
                </a:cxnLst>
                <a:rect l="0" t="0" r="r" b="b"/>
                <a:pathLst>
                  <a:path w="7635" h="5300">
                    <a:moveTo>
                      <a:pt x="2422" y="79"/>
                    </a:moveTo>
                    <a:lnTo>
                      <a:pt x="2374" y="189"/>
                    </a:lnTo>
                    <a:lnTo>
                      <a:pt x="2143" y="225"/>
                    </a:lnTo>
                    <a:lnTo>
                      <a:pt x="1961" y="208"/>
                    </a:lnTo>
                    <a:lnTo>
                      <a:pt x="1744" y="210"/>
                    </a:lnTo>
                    <a:lnTo>
                      <a:pt x="1713" y="304"/>
                    </a:lnTo>
                    <a:lnTo>
                      <a:pt x="1717" y="464"/>
                    </a:lnTo>
                    <a:lnTo>
                      <a:pt x="1799" y="512"/>
                    </a:lnTo>
                    <a:lnTo>
                      <a:pt x="1961" y="508"/>
                    </a:lnTo>
                    <a:lnTo>
                      <a:pt x="2008" y="572"/>
                    </a:lnTo>
                    <a:lnTo>
                      <a:pt x="2024" y="651"/>
                    </a:lnTo>
                    <a:lnTo>
                      <a:pt x="1941" y="691"/>
                    </a:lnTo>
                    <a:lnTo>
                      <a:pt x="1859" y="663"/>
                    </a:lnTo>
                    <a:lnTo>
                      <a:pt x="1729" y="715"/>
                    </a:lnTo>
                    <a:lnTo>
                      <a:pt x="1610" y="735"/>
                    </a:lnTo>
                    <a:lnTo>
                      <a:pt x="1599" y="927"/>
                    </a:lnTo>
                    <a:lnTo>
                      <a:pt x="1618" y="1106"/>
                    </a:lnTo>
                    <a:lnTo>
                      <a:pt x="1811" y="1206"/>
                    </a:lnTo>
                    <a:lnTo>
                      <a:pt x="1819" y="1338"/>
                    </a:lnTo>
                    <a:lnTo>
                      <a:pt x="1902" y="1453"/>
                    </a:lnTo>
                    <a:lnTo>
                      <a:pt x="1914" y="1561"/>
                    </a:lnTo>
                    <a:lnTo>
                      <a:pt x="1878" y="1693"/>
                    </a:lnTo>
                    <a:lnTo>
                      <a:pt x="1666" y="2842"/>
                    </a:lnTo>
                    <a:lnTo>
                      <a:pt x="1559" y="2918"/>
                    </a:lnTo>
                    <a:lnTo>
                      <a:pt x="1500" y="2810"/>
                    </a:lnTo>
                    <a:lnTo>
                      <a:pt x="1288" y="2822"/>
                    </a:lnTo>
                    <a:lnTo>
                      <a:pt x="1217" y="2902"/>
                    </a:lnTo>
                    <a:lnTo>
                      <a:pt x="1087" y="2938"/>
                    </a:lnTo>
                    <a:lnTo>
                      <a:pt x="803" y="2974"/>
                    </a:lnTo>
                    <a:lnTo>
                      <a:pt x="366" y="3281"/>
                    </a:lnTo>
                    <a:lnTo>
                      <a:pt x="347" y="3480"/>
                    </a:lnTo>
                    <a:lnTo>
                      <a:pt x="240" y="3612"/>
                    </a:lnTo>
                    <a:lnTo>
                      <a:pt x="236" y="3732"/>
                    </a:lnTo>
                    <a:lnTo>
                      <a:pt x="276" y="3852"/>
                    </a:lnTo>
                    <a:lnTo>
                      <a:pt x="122" y="3931"/>
                    </a:lnTo>
                    <a:lnTo>
                      <a:pt x="12" y="4039"/>
                    </a:lnTo>
                    <a:lnTo>
                      <a:pt x="0" y="4151"/>
                    </a:lnTo>
                    <a:lnTo>
                      <a:pt x="619" y="4356"/>
                    </a:lnTo>
                    <a:lnTo>
                      <a:pt x="732" y="4369"/>
                    </a:lnTo>
                    <a:lnTo>
                      <a:pt x="1215" y="4512"/>
                    </a:lnTo>
                    <a:lnTo>
                      <a:pt x="1573" y="4584"/>
                    </a:lnTo>
                    <a:lnTo>
                      <a:pt x="1764" y="4729"/>
                    </a:lnTo>
                    <a:lnTo>
                      <a:pt x="2839" y="5236"/>
                    </a:lnTo>
                    <a:lnTo>
                      <a:pt x="3036" y="5300"/>
                    </a:lnTo>
                    <a:lnTo>
                      <a:pt x="3146" y="5236"/>
                    </a:lnTo>
                    <a:lnTo>
                      <a:pt x="3193" y="5120"/>
                    </a:lnTo>
                    <a:lnTo>
                      <a:pt x="3477" y="5120"/>
                    </a:lnTo>
                    <a:lnTo>
                      <a:pt x="3708" y="5085"/>
                    </a:lnTo>
                    <a:lnTo>
                      <a:pt x="3810" y="5058"/>
                    </a:lnTo>
                    <a:lnTo>
                      <a:pt x="3890" y="4961"/>
                    </a:lnTo>
                    <a:lnTo>
                      <a:pt x="4020" y="4953"/>
                    </a:lnTo>
                    <a:lnTo>
                      <a:pt x="4221" y="4905"/>
                    </a:lnTo>
                    <a:lnTo>
                      <a:pt x="4280" y="4793"/>
                    </a:lnTo>
                    <a:lnTo>
                      <a:pt x="4280" y="4674"/>
                    </a:lnTo>
                    <a:lnTo>
                      <a:pt x="4524" y="4510"/>
                    </a:lnTo>
                    <a:lnTo>
                      <a:pt x="4761" y="4494"/>
                    </a:lnTo>
                    <a:lnTo>
                      <a:pt x="4867" y="4614"/>
                    </a:lnTo>
                    <a:lnTo>
                      <a:pt x="4989" y="4701"/>
                    </a:lnTo>
                    <a:lnTo>
                      <a:pt x="5139" y="4889"/>
                    </a:lnTo>
                    <a:lnTo>
                      <a:pt x="5233" y="4829"/>
                    </a:lnTo>
                    <a:lnTo>
                      <a:pt x="5363" y="4857"/>
                    </a:lnTo>
                    <a:lnTo>
                      <a:pt x="6674" y="4853"/>
                    </a:lnTo>
                    <a:lnTo>
                      <a:pt x="6808" y="4235"/>
                    </a:lnTo>
                    <a:lnTo>
                      <a:pt x="6796" y="4123"/>
                    </a:lnTo>
                    <a:lnTo>
                      <a:pt x="6698" y="4015"/>
                    </a:lnTo>
                    <a:lnTo>
                      <a:pt x="7635" y="2040"/>
                    </a:lnTo>
                    <a:lnTo>
                      <a:pt x="7348" y="1777"/>
                    </a:lnTo>
                    <a:lnTo>
                      <a:pt x="7099" y="1661"/>
                    </a:lnTo>
                    <a:lnTo>
                      <a:pt x="6863" y="1541"/>
                    </a:lnTo>
                    <a:lnTo>
                      <a:pt x="6621" y="1291"/>
                    </a:lnTo>
                    <a:lnTo>
                      <a:pt x="6521" y="1046"/>
                    </a:lnTo>
                    <a:lnTo>
                      <a:pt x="6548" y="951"/>
                    </a:lnTo>
                    <a:lnTo>
                      <a:pt x="6531" y="853"/>
                    </a:lnTo>
                    <a:lnTo>
                      <a:pt x="6300" y="871"/>
                    </a:lnTo>
                    <a:lnTo>
                      <a:pt x="6085" y="859"/>
                    </a:lnTo>
                    <a:lnTo>
                      <a:pt x="5970" y="955"/>
                    </a:lnTo>
                    <a:lnTo>
                      <a:pt x="5908" y="1093"/>
                    </a:lnTo>
                    <a:lnTo>
                      <a:pt x="5895" y="1240"/>
                    </a:lnTo>
                    <a:lnTo>
                      <a:pt x="5839" y="1334"/>
                    </a:lnTo>
                    <a:lnTo>
                      <a:pt x="5745" y="1327"/>
                    </a:lnTo>
                    <a:lnTo>
                      <a:pt x="5601" y="1194"/>
                    </a:lnTo>
                    <a:lnTo>
                      <a:pt x="5473" y="1190"/>
                    </a:lnTo>
                    <a:lnTo>
                      <a:pt x="5352" y="1332"/>
                    </a:lnTo>
                    <a:lnTo>
                      <a:pt x="5341" y="1467"/>
                    </a:lnTo>
                    <a:lnTo>
                      <a:pt x="5329" y="1585"/>
                    </a:lnTo>
                    <a:lnTo>
                      <a:pt x="5208" y="1576"/>
                    </a:lnTo>
                    <a:lnTo>
                      <a:pt x="5131" y="1447"/>
                    </a:lnTo>
                    <a:lnTo>
                      <a:pt x="4954" y="1338"/>
                    </a:lnTo>
                    <a:lnTo>
                      <a:pt x="5025" y="1237"/>
                    </a:lnTo>
                    <a:lnTo>
                      <a:pt x="5013" y="1137"/>
                    </a:lnTo>
                    <a:lnTo>
                      <a:pt x="4920" y="999"/>
                    </a:lnTo>
                    <a:lnTo>
                      <a:pt x="4953" y="577"/>
                    </a:lnTo>
                    <a:lnTo>
                      <a:pt x="4914" y="416"/>
                    </a:lnTo>
                    <a:lnTo>
                      <a:pt x="4822" y="258"/>
                    </a:lnTo>
                    <a:lnTo>
                      <a:pt x="4834" y="129"/>
                    </a:lnTo>
                    <a:lnTo>
                      <a:pt x="4678" y="69"/>
                    </a:lnTo>
                    <a:lnTo>
                      <a:pt x="4560" y="0"/>
                    </a:lnTo>
                    <a:lnTo>
                      <a:pt x="4381" y="78"/>
                    </a:lnTo>
                    <a:lnTo>
                      <a:pt x="4290" y="91"/>
                    </a:lnTo>
                    <a:lnTo>
                      <a:pt x="4246" y="237"/>
                    </a:lnTo>
                    <a:lnTo>
                      <a:pt x="4134" y="340"/>
                    </a:lnTo>
                    <a:lnTo>
                      <a:pt x="4040" y="352"/>
                    </a:lnTo>
                    <a:lnTo>
                      <a:pt x="3890" y="424"/>
                    </a:lnTo>
                    <a:lnTo>
                      <a:pt x="3607" y="687"/>
                    </a:lnTo>
                    <a:lnTo>
                      <a:pt x="3579" y="568"/>
                    </a:lnTo>
                    <a:lnTo>
                      <a:pt x="3497" y="536"/>
                    </a:lnTo>
                    <a:lnTo>
                      <a:pt x="3272" y="643"/>
                    </a:lnTo>
                    <a:lnTo>
                      <a:pt x="3012" y="416"/>
                    </a:lnTo>
                    <a:lnTo>
                      <a:pt x="2898" y="416"/>
                    </a:lnTo>
                    <a:lnTo>
                      <a:pt x="2922" y="256"/>
                    </a:lnTo>
                    <a:lnTo>
                      <a:pt x="2847" y="177"/>
                    </a:lnTo>
                    <a:lnTo>
                      <a:pt x="2804" y="9"/>
                    </a:lnTo>
                    <a:lnTo>
                      <a:pt x="2647" y="91"/>
                    </a:lnTo>
                    <a:lnTo>
                      <a:pt x="2551" y="208"/>
                    </a:lnTo>
                    <a:lnTo>
                      <a:pt x="2422" y="7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4" name="Freeform 26">
                <a:extLst>
                  <a:ext uri="{FF2B5EF4-FFF2-40B4-BE49-F238E27FC236}">
                    <a16:creationId xmlns:a16="http://schemas.microsoft.com/office/drawing/2014/main" id="{A9D0BCE8-AE19-4ECC-A2A6-FE0504DD2FC7}"/>
                  </a:ext>
                </a:extLst>
              </p:cNvPr>
              <p:cNvSpPr>
                <a:spLocks/>
              </p:cNvSpPr>
              <p:nvPr/>
            </p:nvSpPr>
            <p:spPr bwMode="auto">
              <a:xfrm>
                <a:off x="1274" y="1817"/>
                <a:ext cx="928" cy="895"/>
              </a:xfrm>
              <a:custGeom>
                <a:avLst/>
                <a:gdLst/>
                <a:ahLst/>
                <a:cxnLst>
                  <a:cxn ang="0">
                    <a:pos x="492" y="2993"/>
                  </a:cxn>
                  <a:cxn ang="0">
                    <a:pos x="551" y="3304"/>
                  </a:cxn>
                  <a:cxn ang="0">
                    <a:pos x="440" y="3532"/>
                  </a:cxn>
                  <a:cxn ang="0">
                    <a:pos x="578" y="3998"/>
                  </a:cxn>
                  <a:cxn ang="0">
                    <a:pos x="1319" y="4223"/>
                  </a:cxn>
                  <a:cxn ang="0">
                    <a:pos x="1453" y="4569"/>
                  </a:cxn>
                  <a:cxn ang="0">
                    <a:pos x="1626" y="4700"/>
                  </a:cxn>
                  <a:cxn ang="0">
                    <a:pos x="1880" y="4700"/>
                  </a:cxn>
                  <a:cxn ang="0">
                    <a:pos x="2126" y="4523"/>
                  </a:cxn>
                  <a:cxn ang="0">
                    <a:pos x="2410" y="4477"/>
                  </a:cxn>
                  <a:cxn ang="0">
                    <a:pos x="2693" y="4700"/>
                  </a:cxn>
                  <a:cxn ang="0">
                    <a:pos x="2961" y="4597"/>
                  </a:cxn>
                  <a:cxn ang="0">
                    <a:pos x="3177" y="4617"/>
                  </a:cxn>
                  <a:cxn ang="0">
                    <a:pos x="3320" y="4561"/>
                  </a:cxn>
                  <a:cxn ang="0">
                    <a:pos x="3209" y="4760"/>
                  </a:cxn>
                  <a:cxn ang="0">
                    <a:pos x="3425" y="4832"/>
                  </a:cxn>
                  <a:cxn ang="0">
                    <a:pos x="3544" y="4641"/>
                  </a:cxn>
                  <a:cxn ang="0">
                    <a:pos x="3610" y="4429"/>
                  </a:cxn>
                  <a:cxn ang="0">
                    <a:pos x="3752" y="4245"/>
                  </a:cxn>
                  <a:cxn ang="0">
                    <a:pos x="3953" y="3862"/>
                  </a:cxn>
                  <a:cxn ang="0">
                    <a:pos x="4213" y="3695"/>
                  </a:cxn>
                  <a:cxn ang="0">
                    <a:pos x="4453" y="3483"/>
                  </a:cxn>
                  <a:cxn ang="0">
                    <a:pos x="4544" y="3184"/>
                  </a:cxn>
                  <a:cxn ang="0">
                    <a:pos x="4626" y="2969"/>
                  </a:cxn>
                  <a:cxn ang="0">
                    <a:pos x="4796" y="2574"/>
                  </a:cxn>
                  <a:cxn ang="0">
                    <a:pos x="4744" y="2346"/>
                  </a:cxn>
                  <a:cxn ang="0">
                    <a:pos x="4851" y="1415"/>
                  </a:cxn>
                  <a:cxn ang="0">
                    <a:pos x="2725" y="1073"/>
                  </a:cxn>
                  <a:cxn ang="0">
                    <a:pos x="1937" y="834"/>
                  </a:cxn>
                  <a:cxn ang="0">
                    <a:pos x="1732" y="491"/>
                  </a:cxn>
                  <a:cxn ang="0">
                    <a:pos x="1496" y="0"/>
                  </a:cxn>
                  <a:cxn ang="0">
                    <a:pos x="1370" y="714"/>
                  </a:cxn>
                  <a:cxn ang="0">
                    <a:pos x="42" y="833"/>
                  </a:cxn>
                  <a:cxn ang="0">
                    <a:pos x="71" y="1211"/>
                  </a:cxn>
                  <a:cxn ang="0">
                    <a:pos x="47" y="1696"/>
                  </a:cxn>
                  <a:cxn ang="0">
                    <a:pos x="506" y="1697"/>
                  </a:cxn>
                  <a:cxn ang="0">
                    <a:pos x="719" y="1774"/>
                  </a:cxn>
                  <a:cxn ang="0">
                    <a:pos x="651" y="1964"/>
                  </a:cxn>
                  <a:cxn ang="0">
                    <a:pos x="744" y="2192"/>
                  </a:cxn>
                  <a:cxn ang="0">
                    <a:pos x="684" y="2516"/>
                  </a:cxn>
                  <a:cxn ang="0">
                    <a:pos x="508" y="2773"/>
                  </a:cxn>
                  <a:cxn ang="0">
                    <a:pos x="375" y="2906"/>
                  </a:cxn>
                </a:cxnLst>
                <a:rect l="0" t="0" r="r" b="b"/>
                <a:pathLst>
                  <a:path w="4961" h="4846">
                    <a:moveTo>
                      <a:pt x="375" y="2906"/>
                    </a:moveTo>
                    <a:lnTo>
                      <a:pt x="492" y="2993"/>
                    </a:lnTo>
                    <a:lnTo>
                      <a:pt x="473" y="3110"/>
                    </a:lnTo>
                    <a:lnTo>
                      <a:pt x="551" y="3304"/>
                    </a:lnTo>
                    <a:lnTo>
                      <a:pt x="563" y="3514"/>
                    </a:lnTo>
                    <a:lnTo>
                      <a:pt x="440" y="3532"/>
                    </a:lnTo>
                    <a:lnTo>
                      <a:pt x="552" y="3677"/>
                    </a:lnTo>
                    <a:lnTo>
                      <a:pt x="578" y="3998"/>
                    </a:lnTo>
                    <a:lnTo>
                      <a:pt x="1401" y="4058"/>
                    </a:lnTo>
                    <a:lnTo>
                      <a:pt x="1319" y="4223"/>
                    </a:lnTo>
                    <a:lnTo>
                      <a:pt x="1343" y="4453"/>
                    </a:lnTo>
                    <a:lnTo>
                      <a:pt x="1453" y="4569"/>
                    </a:lnTo>
                    <a:lnTo>
                      <a:pt x="1581" y="4580"/>
                    </a:lnTo>
                    <a:lnTo>
                      <a:pt x="1626" y="4700"/>
                    </a:lnTo>
                    <a:lnTo>
                      <a:pt x="1739" y="4741"/>
                    </a:lnTo>
                    <a:lnTo>
                      <a:pt x="1880" y="4700"/>
                    </a:lnTo>
                    <a:lnTo>
                      <a:pt x="2007" y="4525"/>
                    </a:lnTo>
                    <a:lnTo>
                      <a:pt x="2126" y="4523"/>
                    </a:lnTo>
                    <a:lnTo>
                      <a:pt x="2256" y="4461"/>
                    </a:lnTo>
                    <a:lnTo>
                      <a:pt x="2410" y="4477"/>
                    </a:lnTo>
                    <a:lnTo>
                      <a:pt x="2516" y="4549"/>
                    </a:lnTo>
                    <a:lnTo>
                      <a:pt x="2693" y="4700"/>
                    </a:lnTo>
                    <a:lnTo>
                      <a:pt x="2843" y="4644"/>
                    </a:lnTo>
                    <a:lnTo>
                      <a:pt x="2961" y="4597"/>
                    </a:lnTo>
                    <a:lnTo>
                      <a:pt x="3067" y="4644"/>
                    </a:lnTo>
                    <a:lnTo>
                      <a:pt x="3177" y="4617"/>
                    </a:lnTo>
                    <a:lnTo>
                      <a:pt x="3284" y="4497"/>
                    </a:lnTo>
                    <a:lnTo>
                      <a:pt x="3320" y="4561"/>
                    </a:lnTo>
                    <a:lnTo>
                      <a:pt x="3293" y="4649"/>
                    </a:lnTo>
                    <a:lnTo>
                      <a:pt x="3209" y="4760"/>
                    </a:lnTo>
                    <a:lnTo>
                      <a:pt x="3272" y="4846"/>
                    </a:lnTo>
                    <a:lnTo>
                      <a:pt x="3425" y="4832"/>
                    </a:lnTo>
                    <a:lnTo>
                      <a:pt x="3553" y="4791"/>
                    </a:lnTo>
                    <a:lnTo>
                      <a:pt x="3544" y="4641"/>
                    </a:lnTo>
                    <a:lnTo>
                      <a:pt x="3551" y="4513"/>
                    </a:lnTo>
                    <a:lnTo>
                      <a:pt x="3610" y="4429"/>
                    </a:lnTo>
                    <a:lnTo>
                      <a:pt x="3614" y="4305"/>
                    </a:lnTo>
                    <a:lnTo>
                      <a:pt x="3752" y="4245"/>
                    </a:lnTo>
                    <a:lnTo>
                      <a:pt x="3823" y="4106"/>
                    </a:lnTo>
                    <a:lnTo>
                      <a:pt x="3953" y="3862"/>
                    </a:lnTo>
                    <a:lnTo>
                      <a:pt x="4099" y="3827"/>
                    </a:lnTo>
                    <a:lnTo>
                      <a:pt x="4213" y="3695"/>
                    </a:lnTo>
                    <a:lnTo>
                      <a:pt x="4288" y="3527"/>
                    </a:lnTo>
                    <a:lnTo>
                      <a:pt x="4453" y="3483"/>
                    </a:lnTo>
                    <a:lnTo>
                      <a:pt x="4536" y="3336"/>
                    </a:lnTo>
                    <a:lnTo>
                      <a:pt x="4544" y="3184"/>
                    </a:lnTo>
                    <a:lnTo>
                      <a:pt x="4618" y="3084"/>
                    </a:lnTo>
                    <a:lnTo>
                      <a:pt x="4626" y="2969"/>
                    </a:lnTo>
                    <a:lnTo>
                      <a:pt x="4725" y="2713"/>
                    </a:lnTo>
                    <a:lnTo>
                      <a:pt x="4796" y="2574"/>
                    </a:lnTo>
                    <a:lnTo>
                      <a:pt x="4701" y="2490"/>
                    </a:lnTo>
                    <a:lnTo>
                      <a:pt x="4744" y="2346"/>
                    </a:lnTo>
                    <a:lnTo>
                      <a:pt x="4709" y="1923"/>
                    </a:lnTo>
                    <a:lnTo>
                      <a:pt x="4851" y="1415"/>
                    </a:lnTo>
                    <a:lnTo>
                      <a:pt x="4961" y="1221"/>
                    </a:lnTo>
                    <a:lnTo>
                      <a:pt x="2725" y="1073"/>
                    </a:lnTo>
                    <a:lnTo>
                      <a:pt x="2126" y="1006"/>
                    </a:lnTo>
                    <a:lnTo>
                      <a:pt x="1937" y="834"/>
                    </a:lnTo>
                    <a:lnTo>
                      <a:pt x="1724" y="654"/>
                    </a:lnTo>
                    <a:lnTo>
                      <a:pt x="1732" y="491"/>
                    </a:lnTo>
                    <a:lnTo>
                      <a:pt x="1650" y="247"/>
                    </a:lnTo>
                    <a:lnTo>
                      <a:pt x="1496" y="0"/>
                    </a:lnTo>
                    <a:lnTo>
                      <a:pt x="1496" y="92"/>
                    </a:lnTo>
                    <a:lnTo>
                      <a:pt x="1370" y="714"/>
                    </a:lnTo>
                    <a:lnTo>
                      <a:pt x="45" y="718"/>
                    </a:lnTo>
                    <a:lnTo>
                      <a:pt x="42" y="833"/>
                    </a:lnTo>
                    <a:lnTo>
                      <a:pt x="0" y="947"/>
                    </a:lnTo>
                    <a:lnTo>
                      <a:pt x="71" y="1211"/>
                    </a:lnTo>
                    <a:lnTo>
                      <a:pt x="20" y="1317"/>
                    </a:lnTo>
                    <a:lnTo>
                      <a:pt x="47" y="1696"/>
                    </a:lnTo>
                    <a:lnTo>
                      <a:pt x="272" y="1699"/>
                    </a:lnTo>
                    <a:lnTo>
                      <a:pt x="506" y="1697"/>
                    </a:lnTo>
                    <a:lnTo>
                      <a:pt x="585" y="1759"/>
                    </a:lnTo>
                    <a:lnTo>
                      <a:pt x="719" y="1774"/>
                    </a:lnTo>
                    <a:lnTo>
                      <a:pt x="743" y="1891"/>
                    </a:lnTo>
                    <a:lnTo>
                      <a:pt x="651" y="1964"/>
                    </a:lnTo>
                    <a:lnTo>
                      <a:pt x="672" y="2072"/>
                    </a:lnTo>
                    <a:lnTo>
                      <a:pt x="744" y="2192"/>
                    </a:lnTo>
                    <a:lnTo>
                      <a:pt x="756" y="2359"/>
                    </a:lnTo>
                    <a:lnTo>
                      <a:pt x="684" y="2516"/>
                    </a:lnTo>
                    <a:lnTo>
                      <a:pt x="587" y="2584"/>
                    </a:lnTo>
                    <a:lnTo>
                      <a:pt x="508" y="2773"/>
                    </a:lnTo>
                    <a:lnTo>
                      <a:pt x="410" y="2812"/>
                    </a:lnTo>
                    <a:lnTo>
                      <a:pt x="375" y="290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5" name="Freeform 27">
                <a:extLst>
                  <a:ext uri="{FF2B5EF4-FFF2-40B4-BE49-F238E27FC236}">
                    <a16:creationId xmlns:a16="http://schemas.microsoft.com/office/drawing/2014/main" id="{4A15B1D0-8780-43CE-9620-3859519E59BA}"/>
                  </a:ext>
                </a:extLst>
              </p:cNvPr>
              <p:cNvSpPr>
                <a:spLocks/>
              </p:cNvSpPr>
              <p:nvPr/>
            </p:nvSpPr>
            <p:spPr bwMode="auto">
              <a:xfrm>
                <a:off x="1493" y="1016"/>
                <a:ext cx="1056" cy="1027"/>
              </a:xfrm>
              <a:custGeom>
                <a:avLst/>
                <a:gdLst/>
                <a:ahLst/>
                <a:cxnLst>
                  <a:cxn ang="0">
                    <a:pos x="0" y="883"/>
                  </a:cxn>
                  <a:cxn ang="0">
                    <a:pos x="147" y="793"/>
                  </a:cxn>
                  <a:cxn ang="0">
                    <a:pos x="364" y="584"/>
                  </a:cxn>
                  <a:cxn ang="0">
                    <a:pos x="615" y="539"/>
                  </a:cxn>
                  <a:cxn ang="0">
                    <a:pos x="911" y="379"/>
                  </a:cxn>
                  <a:cxn ang="0">
                    <a:pos x="1176" y="419"/>
                  </a:cxn>
                  <a:cxn ang="0">
                    <a:pos x="1654" y="449"/>
                  </a:cxn>
                  <a:cxn ang="0">
                    <a:pos x="1595" y="200"/>
                  </a:cxn>
                  <a:cxn ang="0">
                    <a:pos x="1816" y="125"/>
                  </a:cxn>
                  <a:cxn ang="0">
                    <a:pos x="2166" y="0"/>
                  </a:cxn>
                  <a:cxn ang="0">
                    <a:pos x="2334" y="464"/>
                  </a:cxn>
                  <a:cxn ang="0">
                    <a:pos x="2672" y="544"/>
                  </a:cxn>
                  <a:cxn ang="0">
                    <a:pos x="3066" y="778"/>
                  </a:cxn>
                  <a:cxn ang="0">
                    <a:pos x="3233" y="1063"/>
                  </a:cxn>
                  <a:cxn ang="0">
                    <a:pos x="3288" y="1472"/>
                  </a:cxn>
                  <a:cxn ang="0">
                    <a:pos x="3598" y="1981"/>
                  </a:cxn>
                  <a:cxn ang="0">
                    <a:pos x="3885" y="2106"/>
                  </a:cxn>
                  <a:cxn ang="0">
                    <a:pos x="3980" y="2308"/>
                  </a:cxn>
                  <a:cxn ang="0">
                    <a:pos x="4400" y="1996"/>
                  </a:cxn>
                  <a:cxn ang="0">
                    <a:pos x="4483" y="2250"/>
                  </a:cxn>
                  <a:cxn ang="0">
                    <a:pos x="4691" y="2485"/>
                  </a:cxn>
                  <a:cxn ang="0">
                    <a:pos x="4897" y="2530"/>
                  </a:cxn>
                  <a:cxn ang="0">
                    <a:pos x="5311" y="2485"/>
                  </a:cxn>
                  <a:cxn ang="0">
                    <a:pos x="5267" y="2774"/>
                  </a:cxn>
                  <a:cxn ang="0">
                    <a:pos x="5827" y="2066"/>
                  </a:cxn>
                  <a:cxn ang="0">
                    <a:pos x="6108" y="1846"/>
                  </a:cxn>
                  <a:cxn ang="0">
                    <a:pos x="6616" y="1981"/>
                  </a:cxn>
                  <a:cxn ang="0">
                    <a:pos x="7053" y="2101"/>
                  </a:cxn>
                  <a:cxn ang="0">
                    <a:pos x="6713" y="3263"/>
                  </a:cxn>
                  <a:cxn ang="0">
                    <a:pos x="6329" y="3867"/>
                  </a:cxn>
                  <a:cxn ang="0">
                    <a:pos x="5758" y="4351"/>
                  </a:cxn>
                  <a:cxn ang="0">
                    <a:pos x="5792" y="4492"/>
                  </a:cxn>
                  <a:cxn ang="0">
                    <a:pos x="5827" y="4691"/>
                  </a:cxn>
                  <a:cxn ang="0">
                    <a:pos x="5729" y="4970"/>
                  </a:cxn>
                  <a:cxn ang="0">
                    <a:pos x="5299" y="5320"/>
                  </a:cxn>
                  <a:cxn ang="0">
                    <a:pos x="5227" y="5702"/>
                  </a:cxn>
                  <a:cxn ang="0">
                    <a:pos x="5117" y="6363"/>
                  </a:cxn>
                  <a:cxn ang="0">
                    <a:pos x="4823" y="6662"/>
                  </a:cxn>
                  <a:cxn ang="0">
                    <a:pos x="1949" y="6765"/>
                  </a:cxn>
                  <a:cxn ang="0">
                    <a:pos x="694" y="6231"/>
                  </a:cxn>
                  <a:cxn ang="0">
                    <a:pos x="600" y="5732"/>
                  </a:cxn>
                  <a:cxn ang="0">
                    <a:pos x="276" y="5259"/>
                  </a:cxn>
                  <a:cxn ang="0">
                    <a:pos x="1092" y="2475"/>
                  </a:cxn>
                  <a:cxn ang="0">
                    <a:pos x="177" y="1861"/>
                  </a:cxn>
                  <a:cxn ang="0">
                    <a:pos x="89" y="1437"/>
                  </a:cxn>
                </a:cxnLst>
                <a:rect l="0" t="0" r="r" b="b"/>
                <a:pathLst>
                  <a:path w="7053" h="6948">
                    <a:moveTo>
                      <a:pt x="69" y="1321"/>
                    </a:moveTo>
                    <a:lnTo>
                      <a:pt x="0" y="883"/>
                    </a:lnTo>
                    <a:lnTo>
                      <a:pt x="40" y="768"/>
                    </a:lnTo>
                    <a:lnTo>
                      <a:pt x="147" y="793"/>
                    </a:lnTo>
                    <a:lnTo>
                      <a:pt x="305" y="739"/>
                    </a:lnTo>
                    <a:lnTo>
                      <a:pt x="364" y="584"/>
                    </a:lnTo>
                    <a:lnTo>
                      <a:pt x="516" y="634"/>
                    </a:lnTo>
                    <a:lnTo>
                      <a:pt x="615" y="539"/>
                    </a:lnTo>
                    <a:lnTo>
                      <a:pt x="782" y="499"/>
                    </a:lnTo>
                    <a:lnTo>
                      <a:pt x="911" y="379"/>
                    </a:lnTo>
                    <a:lnTo>
                      <a:pt x="1034" y="359"/>
                    </a:lnTo>
                    <a:lnTo>
                      <a:pt x="1176" y="419"/>
                    </a:lnTo>
                    <a:lnTo>
                      <a:pt x="1314" y="374"/>
                    </a:lnTo>
                    <a:lnTo>
                      <a:pt x="1654" y="449"/>
                    </a:lnTo>
                    <a:lnTo>
                      <a:pt x="1699" y="319"/>
                    </a:lnTo>
                    <a:lnTo>
                      <a:pt x="1595" y="200"/>
                    </a:lnTo>
                    <a:lnTo>
                      <a:pt x="1679" y="80"/>
                    </a:lnTo>
                    <a:lnTo>
                      <a:pt x="1816" y="125"/>
                    </a:lnTo>
                    <a:lnTo>
                      <a:pt x="2022" y="105"/>
                    </a:lnTo>
                    <a:lnTo>
                      <a:pt x="2166" y="0"/>
                    </a:lnTo>
                    <a:lnTo>
                      <a:pt x="2334" y="95"/>
                    </a:lnTo>
                    <a:lnTo>
                      <a:pt x="2334" y="464"/>
                    </a:lnTo>
                    <a:lnTo>
                      <a:pt x="2496" y="479"/>
                    </a:lnTo>
                    <a:lnTo>
                      <a:pt x="2672" y="544"/>
                    </a:lnTo>
                    <a:lnTo>
                      <a:pt x="2835" y="674"/>
                    </a:lnTo>
                    <a:lnTo>
                      <a:pt x="3066" y="778"/>
                    </a:lnTo>
                    <a:lnTo>
                      <a:pt x="3071" y="978"/>
                    </a:lnTo>
                    <a:lnTo>
                      <a:pt x="3233" y="1063"/>
                    </a:lnTo>
                    <a:lnTo>
                      <a:pt x="3205" y="1242"/>
                    </a:lnTo>
                    <a:lnTo>
                      <a:pt x="3288" y="1472"/>
                    </a:lnTo>
                    <a:lnTo>
                      <a:pt x="3455" y="1607"/>
                    </a:lnTo>
                    <a:lnTo>
                      <a:pt x="3598" y="1981"/>
                    </a:lnTo>
                    <a:lnTo>
                      <a:pt x="3731" y="2131"/>
                    </a:lnTo>
                    <a:lnTo>
                      <a:pt x="3885" y="2106"/>
                    </a:lnTo>
                    <a:lnTo>
                      <a:pt x="3868" y="2250"/>
                    </a:lnTo>
                    <a:lnTo>
                      <a:pt x="3980" y="2308"/>
                    </a:lnTo>
                    <a:lnTo>
                      <a:pt x="4205" y="2162"/>
                    </a:lnTo>
                    <a:lnTo>
                      <a:pt x="4400" y="1996"/>
                    </a:lnTo>
                    <a:lnTo>
                      <a:pt x="4482" y="2057"/>
                    </a:lnTo>
                    <a:lnTo>
                      <a:pt x="4483" y="2250"/>
                    </a:lnTo>
                    <a:lnTo>
                      <a:pt x="4562" y="2470"/>
                    </a:lnTo>
                    <a:lnTo>
                      <a:pt x="4691" y="2485"/>
                    </a:lnTo>
                    <a:lnTo>
                      <a:pt x="4739" y="2560"/>
                    </a:lnTo>
                    <a:lnTo>
                      <a:pt x="4897" y="2530"/>
                    </a:lnTo>
                    <a:lnTo>
                      <a:pt x="5074" y="2530"/>
                    </a:lnTo>
                    <a:lnTo>
                      <a:pt x="5311" y="2485"/>
                    </a:lnTo>
                    <a:lnTo>
                      <a:pt x="5192" y="2754"/>
                    </a:lnTo>
                    <a:lnTo>
                      <a:pt x="5267" y="2774"/>
                    </a:lnTo>
                    <a:lnTo>
                      <a:pt x="5562" y="2370"/>
                    </a:lnTo>
                    <a:lnTo>
                      <a:pt x="5827" y="2066"/>
                    </a:lnTo>
                    <a:lnTo>
                      <a:pt x="5961" y="1916"/>
                    </a:lnTo>
                    <a:lnTo>
                      <a:pt x="6108" y="1846"/>
                    </a:lnTo>
                    <a:lnTo>
                      <a:pt x="6374" y="1856"/>
                    </a:lnTo>
                    <a:lnTo>
                      <a:pt x="6616" y="1981"/>
                    </a:lnTo>
                    <a:lnTo>
                      <a:pt x="6921" y="2026"/>
                    </a:lnTo>
                    <a:lnTo>
                      <a:pt x="7053" y="2101"/>
                    </a:lnTo>
                    <a:lnTo>
                      <a:pt x="6954" y="2620"/>
                    </a:lnTo>
                    <a:lnTo>
                      <a:pt x="6713" y="3263"/>
                    </a:lnTo>
                    <a:lnTo>
                      <a:pt x="6566" y="3433"/>
                    </a:lnTo>
                    <a:lnTo>
                      <a:pt x="6329" y="3867"/>
                    </a:lnTo>
                    <a:lnTo>
                      <a:pt x="6123" y="4032"/>
                    </a:lnTo>
                    <a:lnTo>
                      <a:pt x="5758" y="4351"/>
                    </a:lnTo>
                    <a:lnTo>
                      <a:pt x="5577" y="4461"/>
                    </a:lnTo>
                    <a:lnTo>
                      <a:pt x="5792" y="4492"/>
                    </a:lnTo>
                    <a:lnTo>
                      <a:pt x="5902" y="4612"/>
                    </a:lnTo>
                    <a:lnTo>
                      <a:pt x="5827" y="4691"/>
                    </a:lnTo>
                    <a:lnTo>
                      <a:pt x="5844" y="4820"/>
                    </a:lnTo>
                    <a:lnTo>
                      <a:pt x="5729" y="4970"/>
                    </a:lnTo>
                    <a:lnTo>
                      <a:pt x="5534" y="5222"/>
                    </a:lnTo>
                    <a:lnTo>
                      <a:pt x="5299" y="5320"/>
                    </a:lnTo>
                    <a:lnTo>
                      <a:pt x="5297" y="5497"/>
                    </a:lnTo>
                    <a:lnTo>
                      <a:pt x="5227" y="5702"/>
                    </a:lnTo>
                    <a:lnTo>
                      <a:pt x="5339" y="5908"/>
                    </a:lnTo>
                    <a:lnTo>
                      <a:pt x="5117" y="6363"/>
                    </a:lnTo>
                    <a:lnTo>
                      <a:pt x="4976" y="6467"/>
                    </a:lnTo>
                    <a:lnTo>
                      <a:pt x="4823" y="6662"/>
                    </a:lnTo>
                    <a:lnTo>
                      <a:pt x="4739" y="6948"/>
                    </a:lnTo>
                    <a:lnTo>
                      <a:pt x="1949" y="6765"/>
                    </a:lnTo>
                    <a:lnTo>
                      <a:pt x="1206" y="6682"/>
                    </a:lnTo>
                    <a:lnTo>
                      <a:pt x="694" y="6231"/>
                    </a:lnTo>
                    <a:lnTo>
                      <a:pt x="704" y="6048"/>
                    </a:lnTo>
                    <a:lnTo>
                      <a:pt x="600" y="5732"/>
                    </a:lnTo>
                    <a:lnTo>
                      <a:pt x="414" y="5434"/>
                    </a:lnTo>
                    <a:lnTo>
                      <a:pt x="276" y="5259"/>
                    </a:lnTo>
                    <a:lnTo>
                      <a:pt x="1447" y="2799"/>
                    </a:lnTo>
                    <a:lnTo>
                      <a:pt x="1092" y="2475"/>
                    </a:lnTo>
                    <a:lnTo>
                      <a:pt x="487" y="2186"/>
                    </a:lnTo>
                    <a:lnTo>
                      <a:pt x="177" y="1861"/>
                    </a:lnTo>
                    <a:lnTo>
                      <a:pt x="54" y="1557"/>
                    </a:lnTo>
                    <a:lnTo>
                      <a:pt x="89" y="1437"/>
                    </a:lnTo>
                    <a:lnTo>
                      <a:pt x="69" y="1321"/>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6" name="Freeform 28">
                <a:extLst>
                  <a:ext uri="{FF2B5EF4-FFF2-40B4-BE49-F238E27FC236}">
                    <a16:creationId xmlns:a16="http://schemas.microsoft.com/office/drawing/2014/main" id="{20B1709A-1941-4B85-9C53-94CB666F60FB}"/>
                  </a:ext>
                </a:extLst>
              </p:cNvPr>
              <p:cNvSpPr>
                <a:spLocks/>
              </p:cNvSpPr>
              <p:nvPr/>
            </p:nvSpPr>
            <p:spPr bwMode="auto">
              <a:xfrm>
                <a:off x="1842" y="872"/>
                <a:ext cx="400" cy="459"/>
              </a:xfrm>
              <a:custGeom>
                <a:avLst/>
                <a:gdLst/>
                <a:ahLst/>
                <a:cxnLst>
                  <a:cxn ang="0">
                    <a:pos x="4" y="1069"/>
                  </a:cxn>
                  <a:cxn ang="0">
                    <a:pos x="134" y="1156"/>
                  </a:cxn>
                  <a:cxn ang="0">
                    <a:pos x="275" y="1247"/>
                  </a:cxn>
                  <a:cxn ang="0">
                    <a:pos x="526" y="1137"/>
                  </a:cxn>
                  <a:cxn ang="0">
                    <a:pos x="734" y="1167"/>
                  </a:cxn>
                  <a:cxn ang="0">
                    <a:pos x="881" y="1197"/>
                  </a:cxn>
                  <a:cxn ang="0">
                    <a:pos x="1014" y="1217"/>
                  </a:cxn>
                  <a:cxn ang="0">
                    <a:pos x="1211" y="1032"/>
                  </a:cxn>
                  <a:cxn ang="0">
                    <a:pos x="1206" y="942"/>
                  </a:cxn>
                  <a:cxn ang="0">
                    <a:pos x="1324" y="679"/>
                  </a:cxn>
                  <a:cxn ang="0">
                    <a:pos x="1698" y="110"/>
                  </a:cxn>
                  <a:cxn ang="0">
                    <a:pos x="1753" y="0"/>
                  </a:cxn>
                  <a:cxn ang="0">
                    <a:pos x="1915" y="95"/>
                  </a:cxn>
                  <a:cxn ang="0">
                    <a:pos x="1959" y="259"/>
                  </a:cxn>
                  <a:cxn ang="0">
                    <a:pos x="2023" y="289"/>
                  </a:cxn>
                  <a:cxn ang="0">
                    <a:pos x="2033" y="614"/>
                  </a:cxn>
                  <a:cxn ang="0">
                    <a:pos x="2165" y="1007"/>
                  </a:cxn>
                  <a:cxn ang="0">
                    <a:pos x="2259" y="1247"/>
                  </a:cxn>
                  <a:cxn ang="0">
                    <a:pos x="2388" y="1436"/>
                  </a:cxn>
                  <a:cxn ang="0">
                    <a:pos x="2550" y="1441"/>
                  </a:cxn>
                  <a:cxn ang="0">
                    <a:pos x="2668" y="1531"/>
                  </a:cxn>
                  <a:cxn ang="0">
                    <a:pos x="2673" y="1676"/>
                  </a:cxn>
                  <a:cxn ang="0">
                    <a:pos x="2584" y="1766"/>
                  </a:cxn>
                  <a:cxn ang="0">
                    <a:pos x="2658" y="1815"/>
                  </a:cxn>
                  <a:cxn ang="0">
                    <a:pos x="2452" y="1995"/>
                  </a:cxn>
                  <a:cxn ang="0">
                    <a:pos x="2254" y="2235"/>
                  </a:cxn>
                  <a:cxn ang="0">
                    <a:pos x="2087" y="2378"/>
                  </a:cxn>
                  <a:cxn ang="0">
                    <a:pos x="1920" y="2488"/>
                  </a:cxn>
                  <a:cxn ang="0">
                    <a:pos x="1817" y="2693"/>
                  </a:cxn>
                  <a:cxn ang="0">
                    <a:pos x="1770" y="2871"/>
                  </a:cxn>
                  <a:cxn ang="0">
                    <a:pos x="1553" y="3077"/>
                  </a:cxn>
                  <a:cxn ang="0">
                    <a:pos x="1403" y="3102"/>
                  </a:cxn>
                  <a:cxn ang="0">
                    <a:pos x="1268" y="2957"/>
                  </a:cxn>
                  <a:cxn ang="0">
                    <a:pos x="1123" y="2573"/>
                  </a:cxn>
                  <a:cxn ang="0">
                    <a:pos x="955" y="2443"/>
                  </a:cxn>
                  <a:cxn ang="0">
                    <a:pos x="871" y="2220"/>
                  </a:cxn>
                  <a:cxn ang="0">
                    <a:pos x="896" y="2035"/>
                  </a:cxn>
                  <a:cxn ang="0">
                    <a:pos x="739" y="1945"/>
                  </a:cxn>
                  <a:cxn ang="0">
                    <a:pos x="727" y="1742"/>
                  </a:cxn>
                  <a:cxn ang="0">
                    <a:pos x="502" y="1651"/>
                  </a:cxn>
                  <a:cxn ang="0">
                    <a:pos x="360" y="1529"/>
                  </a:cxn>
                  <a:cxn ang="0">
                    <a:pos x="169" y="1454"/>
                  </a:cxn>
                  <a:cxn ang="0">
                    <a:pos x="0" y="1436"/>
                  </a:cxn>
                  <a:cxn ang="0">
                    <a:pos x="4" y="1069"/>
                  </a:cxn>
                </a:cxnLst>
                <a:rect l="0" t="0" r="r" b="b"/>
                <a:pathLst>
                  <a:path w="2673" h="3102">
                    <a:moveTo>
                      <a:pt x="4" y="1069"/>
                    </a:moveTo>
                    <a:lnTo>
                      <a:pt x="134" y="1156"/>
                    </a:lnTo>
                    <a:lnTo>
                      <a:pt x="275" y="1247"/>
                    </a:lnTo>
                    <a:lnTo>
                      <a:pt x="526" y="1137"/>
                    </a:lnTo>
                    <a:lnTo>
                      <a:pt x="734" y="1167"/>
                    </a:lnTo>
                    <a:lnTo>
                      <a:pt x="881" y="1197"/>
                    </a:lnTo>
                    <a:lnTo>
                      <a:pt x="1014" y="1217"/>
                    </a:lnTo>
                    <a:lnTo>
                      <a:pt x="1211" y="1032"/>
                    </a:lnTo>
                    <a:lnTo>
                      <a:pt x="1206" y="942"/>
                    </a:lnTo>
                    <a:lnTo>
                      <a:pt x="1324" y="679"/>
                    </a:lnTo>
                    <a:lnTo>
                      <a:pt x="1698" y="110"/>
                    </a:lnTo>
                    <a:lnTo>
                      <a:pt x="1753" y="0"/>
                    </a:lnTo>
                    <a:lnTo>
                      <a:pt x="1915" y="95"/>
                    </a:lnTo>
                    <a:lnTo>
                      <a:pt x="1959" y="259"/>
                    </a:lnTo>
                    <a:lnTo>
                      <a:pt x="2023" y="289"/>
                    </a:lnTo>
                    <a:lnTo>
                      <a:pt x="2033" y="614"/>
                    </a:lnTo>
                    <a:lnTo>
                      <a:pt x="2165" y="1007"/>
                    </a:lnTo>
                    <a:lnTo>
                      <a:pt x="2259" y="1247"/>
                    </a:lnTo>
                    <a:lnTo>
                      <a:pt x="2388" y="1436"/>
                    </a:lnTo>
                    <a:lnTo>
                      <a:pt x="2550" y="1441"/>
                    </a:lnTo>
                    <a:lnTo>
                      <a:pt x="2668" y="1531"/>
                    </a:lnTo>
                    <a:lnTo>
                      <a:pt x="2673" y="1676"/>
                    </a:lnTo>
                    <a:lnTo>
                      <a:pt x="2584" y="1766"/>
                    </a:lnTo>
                    <a:lnTo>
                      <a:pt x="2658" y="1815"/>
                    </a:lnTo>
                    <a:lnTo>
                      <a:pt x="2452" y="1995"/>
                    </a:lnTo>
                    <a:lnTo>
                      <a:pt x="2254" y="2235"/>
                    </a:lnTo>
                    <a:lnTo>
                      <a:pt x="2087" y="2378"/>
                    </a:lnTo>
                    <a:lnTo>
                      <a:pt x="1920" y="2488"/>
                    </a:lnTo>
                    <a:lnTo>
                      <a:pt x="1817" y="2693"/>
                    </a:lnTo>
                    <a:lnTo>
                      <a:pt x="1770" y="2871"/>
                    </a:lnTo>
                    <a:lnTo>
                      <a:pt x="1553" y="3077"/>
                    </a:lnTo>
                    <a:lnTo>
                      <a:pt x="1403" y="3102"/>
                    </a:lnTo>
                    <a:lnTo>
                      <a:pt x="1268" y="2957"/>
                    </a:lnTo>
                    <a:lnTo>
                      <a:pt x="1123" y="2573"/>
                    </a:lnTo>
                    <a:lnTo>
                      <a:pt x="955" y="2443"/>
                    </a:lnTo>
                    <a:lnTo>
                      <a:pt x="871" y="2220"/>
                    </a:lnTo>
                    <a:lnTo>
                      <a:pt x="896" y="2035"/>
                    </a:lnTo>
                    <a:lnTo>
                      <a:pt x="739" y="1945"/>
                    </a:lnTo>
                    <a:lnTo>
                      <a:pt x="727" y="1742"/>
                    </a:lnTo>
                    <a:lnTo>
                      <a:pt x="502" y="1651"/>
                    </a:lnTo>
                    <a:lnTo>
                      <a:pt x="360" y="1529"/>
                    </a:lnTo>
                    <a:lnTo>
                      <a:pt x="169" y="1454"/>
                    </a:lnTo>
                    <a:lnTo>
                      <a:pt x="0" y="1436"/>
                    </a:lnTo>
                    <a:lnTo>
                      <a:pt x="4" y="106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7" name="Freeform 29">
                <a:extLst>
                  <a:ext uri="{FF2B5EF4-FFF2-40B4-BE49-F238E27FC236}">
                    <a16:creationId xmlns:a16="http://schemas.microsoft.com/office/drawing/2014/main" id="{69C16214-A1AB-49D2-A750-A4230B6E7FA6}"/>
                  </a:ext>
                </a:extLst>
              </p:cNvPr>
              <p:cNvSpPr>
                <a:spLocks/>
              </p:cNvSpPr>
              <p:nvPr/>
            </p:nvSpPr>
            <p:spPr bwMode="auto">
              <a:xfrm>
                <a:off x="2072" y="1236"/>
                <a:ext cx="289" cy="148"/>
              </a:xfrm>
              <a:custGeom>
                <a:avLst/>
                <a:gdLst/>
                <a:ahLst/>
                <a:cxnLst>
                  <a:cxn ang="0">
                    <a:pos x="1931" y="105"/>
                  </a:cxn>
                  <a:cxn ang="0">
                    <a:pos x="1700" y="120"/>
                  </a:cxn>
                  <a:cxn ang="0">
                    <a:pos x="1271" y="135"/>
                  </a:cxn>
                  <a:cxn ang="0">
                    <a:pos x="1060" y="40"/>
                  </a:cxn>
                  <a:cxn ang="0">
                    <a:pos x="839" y="55"/>
                  </a:cxn>
                  <a:cxn ang="0">
                    <a:pos x="740" y="190"/>
                  </a:cxn>
                  <a:cxn ang="0">
                    <a:pos x="735" y="309"/>
                  </a:cxn>
                  <a:cxn ang="0">
                    <a:pos x="632" y="359"/>
                  </a:cxn>
                  <a:cxn ang="0">
                    <a:pos x="484" y="389"/>
                  </a:cxn>
                  <a:cxn ang="0">
                    <a:pos x="519" y="299"/>
                  </a:cxn>
                  <a:cxn ang="0">
                    <a:pos x="607" y="240"/>
                  </a:cxn>
                  <a:cxn ang="0">
                    <a:pos x="710" y="45"/>
                  </a:cxn>
                  <a:cxn ang="0">
                    <a:pos x="588" y="0"/>
                  </a:cxn>
                  <a:cxn ang="0">
                    <a:pos x="514" y="120"/>
                  </a:cxn>
                  <a:cxn ang="0">
                    <a:pos x="416" y="279"/>
                  </a:cxn>
                  <a:cxn ang="0">
                    <a:pos x="281" y="242"/>
                  </a:cxn>
                  <a:cxn ang="0">
                    <a:pos x="234" y="410"/>
                  </a:cxn>
                  <a:cxn ang="0">
                    <a:pos x="18" y="617"/>
                  </a:cxn>
                  <a:cxn ang="0">
                    <a:pos x="0" y="763"/>
                  </a:cxn>
                  <a:cxn ang="0">
                    <a:pos x="110" y="821"/>
                  </a:cxn>
                  <a:cxn ang="0">
                    <a:pos x="327" y="683"/>
                  </a:cxn>
                  <a:cxn ang="0">
                    <a:pos x="533" y="508"/>
                  </a:cxn>
                  <a:cxn ang="0">
                    <a:pos x="614" y="572"/>
                  </a:cxn>
                  <a:cxn ang="0">
                    <a:pos x="617" y="757"/>
                  </a:cxn>
                  <a:cxn ang="0">
                    <a:pos x="695" y="982"/>
                  </a:cxn>
                  <a:cxn ang="0">
                    <a:pos x="829" y="997"/>
                  </a:cxn>
                  <a:cxn ang="0">
                    <a:pos x="1060" y="927"/>
                  </a:cxn>
                  <a:cxn ang="0">
                    <a:pos x="1198" y="1002"/>
                  </a:cxn>
                  <a:cxn ang="0">
                    <a:pos x="1405" y="877"/>
                  </a:cxn>
                  <a:cxn ang="0">
                    <a:pos x="1670" y="807"/>
                  </a:cxn>
                  <a:cxn ang="0">
                    <a:pos x="1832" y="538"/>
                  </a:cxn>
                  <a:cxn ang="0">
                    <a:pos x="1916" y="444"/>
                  </a:cxn>
                  <a:cxn ang="0">
                    <a:pos x="1921" y="314"/>
                  </a:cxn>
                  <a:cxn ang="0">
                    <a:pos x="1931" y="105"/>
                  </a:cxn>
                </a:cxnLst>
                <a:rect l="0" t="0" r="r" b="b"/>
                <a:pathLst>
                  <a:path w="1931" h="1002">
                    <a:moveTo>
                      <a:pt x="1931" y="105"/>
                    </a:moveTo>
                    <a:lnTo>
                      <a:pt x="1700" y="120"/>
                    </a:lnTo>
                    <a:lnTo>
                      <a:pt x="1271" y="135"/>
                    </a:lnTo>
                    <a:lnTo>
                      <a:pt x="1060" y="40"/>
                    </a:lnTo>
                    <a:lnTo>
                      <a:pt x="839" y="55"/>
                    </a:lnTo>
                    <a:lnTo>
                      <a:pt x="740" y="190"/>
                    </a:lnTo>
                    <a:lnTo>
                      <a:pt x="735" y="309"/>
                    </a:lnTo>
                    <a:lnTo>
                      <a:pt x="632" y="359"/>
                    </a:lnTo>
                    <a:lnTo>
                      <a:pt x="484" y="389"/>
                    </a:lnTo>
                    <a:lnTo>
                      <a:pt x="519" y="299"/>
                    </a:lnTo>
                    <a:lnTo>
                      <a:pt x="607" y="240"/>
                    </a:lnTo>
                    <a:lnTo>
                      <a:pt x="710" y="45"/>
                    </a:lnTo>
                    <a:lnTo>
                      <a:pt x="588" y="0"/>
                    </a:lnTo>
                    <a:lnTo>
                      <a:pt x="514" y="120"/>
                    </a:lnTo>
                    <a:lnTo>
                      <a:pt x="416" y="279"/>
                    </a:lnTo>
                    <a:lnTo>
                      <a:pt x="281" y="242"/>
                    </a:lnTo>
                    <a:lnTo>
                      <a:pt x="234" y="410"/>
                    </a:lnTo>
                    <a:lnTo>
                      <a:pt x="18" y="617"/>
                    </a:lnTo>
                    <a:lnTo>
                      <a:pt x="0" y="763"/>
                    </a:lnTo>
                    <a:lnTo>
                      <a:pt x="110" y="821"/>
                    </a:lnTo>
                    <a:lnTo>
                      <a:pt x="327" y="683"/>
                    </a:lnTo>
                    <a:lnTo>
                      <a:pt x="533" y="508"/>
                    </a:lnTo>
                    <a:lnTo>
                      <a:pt x="614" y="572"/>
                    </a:lnTo>
                    <a:lnTo>
                      <a:pt x="617" y="757"/>
                    </a:lnTo>
                    <a:lnTo>
                      <a:pt x="695" y="982"/>
                    </a:lnTo>
                    <a:lnTo>
                      <a:pt x="829" y="997"/>
                    </a:lnTo>
                    <a:lnTo>
                      <a:pt x="1060" y="927"/>
                    </a:lnTo>
                    <a:lnTo>
                      <a:pt x="1198" y="1002"/>
                    </a:lnTo>
                    <a:lnTo>
                      <a:pt x="1405" y="877"/>
                    </a:lnTo>
                    <a:lnTo>
                      <a:pt x="1670" y="807"/>
                    </a:lnTo>
                    <a:lnTo>
                      <a:pt x="1832" y="538"/>
                    </a:lnTo>
                    <a:lnTo>
                      <a:pt x="1916" y="444"/>
                    </a:lnTo>
                    <a:lnTo>
                      <a:pt x="1921" y="314"/>
                    </a:lnTo>
                    <a:lnTo>
                      <a:pt x="1931" y="105"/>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8" name="Freeform 30">
                <a:extLst>
                  <a:ext uri="{FF2B5EF4-FFF2-40B4-BE49-F238E27FC236}">
                    <a16:creationId xmlns:a16="http://schemas.microsoft.com/office/drawing/2014/main" id="{287C6316-A7E1-47CB-B76A-386045D4343E}"/>
                  </a:ext>
                </a:extLst>
              </p:cNvPr>
              <p:cNvSpPr>
                <a:spLocks/>
              </p:cNvSpPr>
              <p:nvPr/>
            </p:nvSpPr>
            <p:spPr bwMode="auto">
              <a:xfrm>
                <a:off x="1532" y="2641"/>
                <a:ext cx="572" cy="558"/>
              </a:xfrm>
              <a:custGeom>
                <a:avLst/>
                <a:gdLst/>
                <a:ahLst/>
                <a:cxnLst>
                  <a:cxn ang="0">
                    <a:pos x="303" y="298"/>
                  </a:cxn>
                  <a:cxn ang="0">
                    <a:pos x="409" y="543"/>
                  </a:cxn>
                  <a:cxn ang="0">
                    <a:pos x="305" y="721"/>
                  </a:cxn>
                  <a:cxn ang="0">
                    <a:pos x="216" y="1078"/>
                  </a:cxn>
                  <a:cxn ang="0">
                    <a:pos x="0" y="1411"/>
                  </a:cxn>
                  <a:cxn ang="0">
                    <a:pos x="56" y="1748"/>
                  </a:cxn>
                  <a:cxn ang="0">
                    <a:pos x="171" y="1998"/>
                  </a:cxn>
                  <a:cxn ang="0">
                    <a:pos x="191" y="2218"/>
                  </a:cxn>
                  <a:cxn ang="0">
                    <a:pos x="119" y="2425"/>
                  </a:cxn>
                  <a:cxn ang="0">
                    <a:pos x="74" y="2678"/>
                  </a:cxn>
                  <a:cxn ang="0">
                    <a:pos x="261" y="2723"/>
                  </a:cxn>
                  <a:cxn ang="0">
                    <a:pos x="399" y="2698"/>
                  </a:cxn>
                  <a:cxn ang="0">
                    <a:pos x="709" y="2798"/>
                  </a:cxn>
                  <a:cxn ang="0">
                    <a:pos x="856" y="2698"/>
                  </a:cxn>
                  <a:cxn ang="0">
                    <a:pos x="955" y="2753"/>
                  </a:cxn>
                  <a:cxn ang="0">
                    <a:pos x="1181" y="2783"/>
                  </a:cxn>
                  <a:cxn ang="0">
                    <a:pos x="1283" y="3035"/>
                  </a:cxn>
                  <a:cxn ang="0">
                    <a:pos x="1255" y="3156"/>
                  </a:cxn>
                  <a:cxn ang="0">
                    <a:pos x="1310" y="3381"/>
                  </a:cxn>
                  <a:cxn ang="0">
                    <a:pos x="1338" y="3665"/>
                  </a:cxn>
                  <a:cxn ang="0">
                    <a:pos x="1412" y="3725"/>
                  </a:cxn>
                  <a:cxn ang="0">
                    <a:pos x="1625" y="3685"/>
                  </a:cxn>
                  <a:cxn ang="0">
                    <a:pos x="1801" y="3680"/>
                  </a:cxn>
                  <a:cxn ang="0">
                    <a:pos x="1905" y="3775"/>
                  </a:cxn>
                  <a:cxn ang="0">
                    <a:pos x="2067" y="3655"/>
                  </a:cxn>
                  <a:cxn ang="0">
                    <a:pos x="2126" y="3456"/>
                  </a:cxn>
                  <a:cxn ang="0">
                    <a:pos x="2224" y="3356"/>
                  </a:cxn>
                  <a:cxn ang="0">
                    <a:pos x="2347" y="3116"/>
                  </a:cxn>
                  <a:cxn ang="0">
                    <a:pos x="2688" y="2935"/>
                  </a:cxn>
                  <a:cxn ang="0">
                    <a:pos x="2968" y="2723"/>
                  </a:cxn>
                  <a:cxn ang="0">
                    <a:pos x="3199" y="2384"/>
                  </a:cxn>
                  <a:cxn ang="0">
                    <a:pos x="3469" y="1890"/>
                  </a:cxn>
                  <a:cxn ang="0">
                    <a:pos x="3780" y="1568"/>
                  </a:cxn>
                  <a:cxn ang="0">
                    <a:pos x="3750" y="1426"/>
                  </a:cxn>
                  <a:cxn ang="0">
                    <a:pos x="3819" y="1261"/>
                  </a:cxn>
                  <a:cxn ang="0">
                    <a:pos x="3325" y="1025"/>
                  </a:cxn>
                  <a:cxn ang="0">
                    <a:pos x="3130" y="858"/>
                  </a:cxn>
                  <a:cxn ang="0">
                    <a:pos x="2875" y="870"/>
                  </a:cxn>
                  <a:cxn ang="0">
                    <a:pos x="2818" y="793"/>
                  </a:cxn>
                  <a:cxn ang="0">
                    <a:pos x="2878" y="665"/>
                  </a:cxn>
                  <a:cxn ang="0">
                    <a:pos x="2778" y="610"/>
                  </a:cxn>
                  <a:cxn ang="0">
                    <a:pos x="2713" y="413"/>
                  </a:cxn>
                  <a:cxn ang="0">
                    <a:pos x="2551" y="465"/>
                  </a:cxn>
                  <a:cxn ang="0">
                    <a:pos x="2358" y="480"/>
                  </a:cxn>
                  <a:cxn ang="0">
                    <a:pos x="2283" y="375"/>
                  </a:cxn>
                  <a:cxn ang="0">
                    <a:pos x="2386" y="238"/>
                  </a:cxn>
                  <a:cxn ang="0">
                    <a:pos x="2422" y="129"/>
                  </a:cxn>
                  <a:cxn ang="0">
                    <a:pos x="2376" y="45"/>
                  </a:cxn>
                  <a:cxn ang="0">
                    <a:pos x="2243" y="194"/>
                  </a:cxn>
                  <a:cxn ang="0">
                    <a:pos x="2107" y="230"/>
                  </a:cxn>
                  <a:cxn ang="0">
                    <a:pos x="1977" y="170"/>
                  </a:cxn>
                  <a:cxn ang="0">
                    <a:pos x="1638" y="299"/>
                  </a:cxn>
                  <a:cxn ang="0">
                    <a:pos x="1430" y="119"/>
                  </a:cxn>
                  <a:cxn ang="0">
                    <a:pos x="1286" y="20"/>
                  </a:cxn>
                  <a:cxn ang="0">
                    <a:pos x="1087" y="0"/>
                  </a:cxn>
                  <a:cxn ang="0">
                    <a:pos x="933" y="75"/>
                  </a:cxn>
                  <a:cxn ang="0">
                    <a:pos x="782" y="80"/>
                  </a:cxn>
                  <a:cxn ang="0">
                    <a:pos x="620" y="299"/>
                  </a:cxn>
                  <a:cxn ang="0">
                    <a:pos x="442" y="349"/>
                  </a:cxn>
                  <a:cxn ang="0">
                    <a:pos x="303" y="298"/>
                  </a:cxn>
                </a:cxnLst>
                <a:rect l="0" t="0" r="r" b="b"/>
                <a:pathLst>
                  <a:path w="3819" h="3775">
                    <a:moveTo>
                      <a:pt x="303" y="298"/>
                    </a:moveTo>
                    <a:lnTo>
                      <a:pt x="409" y="543"/>
                    </a:lnTo>
                    <a:lnTo>
                      <a:pt x="305" y="721"/>
                    </a:lnTo>
                    <a:lnTo>
                      <a:pt x="216" y="1078"/>
                    </a:lnTo>
                    <a:lnTo>
                      <a:pt x="0" y="1411"/>
                    </a:lnTo>
                    <a:lnTo>
                      <a:pt x="56" y="1748"/>
                    </a:lnTo>
                    <a:lnTo>
                      <a:pt x="171" y="1998"/>
                    </a:lnTo>
                    <a:lnTo>
                      <a:pt x="191" y="2218"/>
                    </a:lnTo>
                    <a:lnTo>
                      <a:pt x="119" y="2425"/>
                    </a:lnTo>
                    <a:lnTo>
                      <a:pt x="74" y="2678"/>
                    </a:lnTo>
                    <a:lnTo>
                      <a:pt x="261" y="2723"/>
                    </a:lnTo>
                    <a:lnTo>
                      <a:pt x="399" y="2698"/>
                    </a:lnTo>
                    <a:lnTo>
                      <a:pt x="709" y="2798"/>
                    </a:lnTo>
                    <a:lnTo>
                      <a:pt x="856" y="2698"/>
                    </a:lnTo>
                    <a:lnTo>
                      <a:pt x="955" y="2753"/>
                    </a:lnTo>
                    <a:lnTo>
                      <a:pt x="1181" y="2783"/>
                    </a:lnTo>
                    <a:lnTo>
                      <a:pt x="1283" y="3035"/>
                    </a:lnTo>
                    <a:lnTo>
                      <a:pt x="1255" y="3156"/>
                    </a:lnTo>
                    <a:lnTo>
                      <a:pt x="1310" y="3381"/>
                    </a:lnTo>
                    <a:lnTo>
                      <a:pt x="1338" y="3665"/>
                    </a:lnTo>
                    <a:lnTo>
                      <a:pt x="1412" y="3725"/>
                    </a:lnTo>
                    <a:lnTo>
                      <a:pt x="1625" y="3685"/>
                    </a:lnTo>
                    <a:lnTo>
                      <a:pt x="1801" y="3680"/>
                    </a:lnTo>
                    <a:lnTo>
                      <a:pt x="1905" y="3775"/>
                    </a:lnTo>
                    <a:lnTo>
                      <a:pt x="2067" y="3655"/>
                    </a:lnTo>
                    <a:lnTo>
                      <a:pt x="2126" y="3456"/>
                    </a:lnTo>
                    <a:lnTo>
                      <a:pt x="2224" y="3356"/>
                    </a:lnTo>
                    <a:lnTo>
                      <a:pt x="2347" y="3116"/>
                    </a:lnTo>
                    <a:lnTo>
                      <a:pt x="2688" y="2935"/>
                    </a:lnTo>
                    <a:lnTo>
                      <a:pt x="2968" y="2723"/>
                    </a:lnTo>
                    <a:lnTo>
                      <a:pt x="3199" y="2384"/>
                    </a:lnTo>
                    <a:lnTo>
                      <a:pt x="3469" y="1890"/>
                    </a:lnTo>
                    <a:lnTo>
                      <a:pt x="3780" y="1568"/>
                    </a:lnTo>
                    <a:lnTo>
                      <a:pt x="3750" y="1426"/>
                    </a:lnTo>
                    <a:lnTo>
                      <a:pt x="3819" y="1261"/>
                    </a:lnTo>
                    <a:lnTo>
                      <a:pt x="3325" y="1025"/>
                    </a:lnTo>
                    <a:lnTo>
                      <a:pt x="3130" y="858"/>
                    </a:lnTo>
                    <a:lnTo>
                      <a:pt x="2875" y="870"/>
                    </a:lnTo>
                    <a:lnTo>
                      <a:pt x="2818" y="793"/>
                    </a:lnTo>
                    <a:lnTo>
                      <a:pt x="2878" y="665"/>
                    </a:lnTo>
                    <a:lnTo>
                      <a:pt x="2778" y="610"/>
                    </a:lnTo>
                    <a:lnTo>
                      <a:pt x="2713" y="413"/>
                    </a:lnTo>
                    <a:lnTo>
                      <a:pt x="2551" y="465"/>
                    </a:lnTo>
                    <a:lnTo>
                      <a:pt x="2358" y="480"/>
                    </a:lnTo>
                    <a:lnTo>
                      <a:pt x="2283" y="375"/>
                    </a:lnTo>
                    <a:lnTo>
                      <a:pt x="2386" y="238"/>
                    </a:lnTo>
                    <a:lnTo>
                      <a:pt x="2422" y="129"/>
                    </a:lnTo>
                    <a:lnTo>
                      <a:pt x="2376" y="45"/>
                    </a:lnTo>
                    <a:lnTo>
                      <a:pt x="2243" y="194"/>
                    </a:lnTo>
                    <a:lnTo>
                      <a:pt x="2107" y="230"/>
                    </a:lnTo>
                    <a:lnTo>
                      <a:pt x="1977" y="170"/>
                    </a:lnTo>
                    <a:lnTo>
                      <a:pt x="1638" y="299"/>
                    </a:lnTo>
                    <a:lnTo>
                      <a:pt x="1430" y="119"/>
                    </a:lnTo>
                    <a:lnTo>
                      <a:pt x="1286" y="20"/>
                    </a:lnTo>
                    <a:lnTo>
                      <a:pt x="1087" y="0"/>
                    </a:lnTo>
                    <a:lnTo>
                      <a:pt x="933" y="75"/>
                    </a:lnTo>
                    <a:lnTo>
                      <a:pt x="782" y="80"/>
                    </a:lnTo>
                    <a:lnTo>
                      <a:pt x="620" y="299"/>
                    </a:lnTo>
                    <a:lnTo>
                      <a:pt x="442" y="349"/>
                    </a:lnTo>
                    <a:lnTo>
                      <a:pt x="303" y="298"/>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9" name="Freeform 31">
                <a:extLst>
                  <a:ext uri="{FF2B5EF4-FFF2-40B4-BE49-F238E27FC236}">
                    <a16:creationId xmlns:a16="http://schemas.microsoft.com/office/drawing/2014/main" id="{E64A5B25-92DE-4B1B-88EE-CF77A422C59A}"/>
                  </a:ext>
                </a:extLst>
              </p:cNvPr>
              <p:cNvSpPr>
                <a:spLocks/>
              </p:cNvSpPr>
              <p:nvPr/>
            </p:nvSpPr>
            <p:spPr bwMode="auto">
              <a:xfrm>
                <a:off x="1935" y="2858"/>
                <a:ext cx="685" cy="447"/>
              </a:xfrm>
              <a:custGeom>
                <a:avLst/>
                <a:gdLst/>
                <a:ahLst/>
                <a:cxnLst>
                  <a:cxn ang="0">
                    <a:pos x="153" y="1225"/>
                  </a:cxn>
                  <a:cxn ang="0">
                    <a:pos x="614" y="1281"/>
                  </a:cxn>
                  <a:cxn ang="0">
                    <a:pos x="1201" y="1401"/>
                  </a:cxn>
                  <a:cxn ang="0">
                    <a:pos x="1311" y="1712"/>
                  </a:cxn>
                  <a:cxn ang="0">
                    <a:pos x="1451" y="2035"/>
                  </a:cxn>
                  <a:cxn ang="0">
                    <a:pos x="1495" y="2169"/>
                  </a:cxn>
                  <a:cxn ang="0">
                    <a:pos x="1667" y="2277"/>
                  </a:cxn>
                  <a:cxn ang="0">
                    <a:pos x="1781" y="2279"/>
                  </a:cxn>
                  <a:cxn ang="0">
                    <a:pos x="1878" y="2422"/>
                  </a:cxn>
                  <a:cxn ang="0">
                    <a:pos x="2327" y="2095"/>
                  </a:cxn>
                  <a:cxn ang="0">
                    <a:pos x="2807" y="1812"/>
                  </a:cxn>
                  <a:cxn ang="0">
                    <a:pos x="3056" y="1764"/>
                  </a:cxn>
                  <a:cxn ang="0">
                    <a:pos x="3256" y="1656"/>
                  </a:cxn>
                  <a:cxn ang="0">
                    <a:pos x="3390" y="1620"/>
                  </a:cxn>
                  <a:cxn ang="0">
                    <a:pos x="3374" y="1520"/>
                  </a:cxn>
                  <a:cxn ang="0">
                    <a:pos x="3599" y="1524"/>
                  </a:cxn>
                  <a:cxn ang="0">
                    <a:pos x="3603" y="1381"/>
                  </a:cxn>
                  <a:cxn ang="0">
                    <a:pos x="3426" y="1293"/>
                  </a:cxn>
                  <a:cxn ang="0">
                    <a:pos x="3115" y="1305"/>
                  </a:cxn>
                  <a:cxn ang="0">
                    <a:pos x="2895" y="1393"/>
                  </a:cxn>
                  <a:cxn ang="0">
                    <a:pos x="2671" y="1357"/>
                  </a:cxn>
                  <a:cxn ang="0">
                    <a:pos x="2585" y="1187"/>
                  </a:cxn>
                  <a:cxn ang="0">
                    <a:pos x="2701" y="806"/>
                  </a:cxn>
                  <a:cxn ang="0">
                    <a:pos x="2465" y="731"/>
                  </a:cxn>
                  <a:cxn ang="0">
                    <a:pos x="2483" y="409"/>
                  </a:cxn>
                  <a:cxn ang="0">
                    <a:pos x="2327" y="112"/>
                  </a:cxn>
                  <a:cxn ang="0">
                    <a:pos x="1973" y="156"/>
                  </a:cxn>
                  <a:cxn ang="0">
                    <a:pos x="1618" y="219"/>
                  </a:cxn>
                  <a:cxn ang="0">
                    <a:pos x="1272" y="52"/>
                  </a:cxn>
                  <a:cxn ang="0">
                    <a:pos x="874" y="84"/>
                  </a:cxn>
                  <a:cxn ang="0">
                    <a:pos x="407" y="740"/>
                  </a:cxn>
                  <a:cxn ang="0">
                    <a:pos x="0" y="1177"/>
                  </a:cxn>
                </a:cxnLst>
                <a:rect l="0" t="0" r="r" b="b"/>
                <a:pathLst>
                  <a:path w="3661" h="2422">
                    <a:moveTo>
                      <a:pt x="0" y="1177"/>
                    </a:moveTo>
                    <a:lnTo>
                      <a:pt x="153" y="1225"/>
                    </a:lnTo>
                    <a:lnTo>
                      <a:pt x="343" y="1185"/>
                    </a:lnTo>
                    <a:lnTo>
                      <a:pt x="614" y="1281"/>
                    </a:lnTo>
                    <a:lnTo>
                      <a:pt x="803" y="1389"/>
                    </a:lnTo>
                    <a:lnTo>
                      <a:pt x="1201" y="1401"/>
                    </a:lnTo>
                    <a:lnTo>
                      <a:pt x="1333" y="1577"/>
                    </a:lnTo>
                    <a:lnTo>
                      <a:pt x="1311" y="1712"/>
                    </a:lnTo>
                    <a:lnTo>
                      <a:pt x="1390" y="1895"/>
                    </a:lnTo>
                    <a:lnTo>
                      <a:pt x="1451" y="2035"/>
                    </a:lnTo>
                    <a:lnTo>
                      <a:pt x="1407" y="2119"/>
                    </a:lnTo>
                    <a:lnTo>
                      <a:pt x="1495" y="2169"/>
                    </a:lnTo>
                    <a:lnTo>
                      <a:pt x="1731" y="2191"/>
                    </a:lnTo>
                    <a:lnTo>
                      <a:pt x="1667" y="2277"/>
                    </a:lnTo>
                    <a:lnTo>
                      <a:pt x="1691" y="2333"/>
                    </a:lnTo>
                    <a:lnTo>
                      <a:pt x="1781" y="2279"/>
                    </a:lnTo>
                    <a:lnTo>
                      <a:pt x="1839" y="2395"/>
                    </a:lnTo>
                    <a:lnTo>
                      <a:pt x="1878" y="2422"/>
                    </a:lnTo>
                    <a:lnTo>
                      <a:pt x="2099" y="2215"/>
                    </a:lnTo>
                    <a:lnTo>
                      <a:pt x="2327" y="2095"/>
                    </a:lnTo>
                    <a:lnTo>
                      <a:pt x="2465" y="1967"/>
                    </a:lnTo>
                    <a:lnTo>
                      <a:pt x="2807" y="1812"/>
                    </a:lnTo>
                    <a:lnTo>
                      <a:pt x="3000" y="1835"/>
                    </a:lnTo>
                    <a:lnTo>
                      <a:pt x="3056" y="1764"/>
                    </a:lnTo>
                    <a:lnTo>
                      <a:pt x="3174" y="1704"/>
                    </a:lnTo>
                    <a:lnTo>
                      <a:pt x="3256" y="1656"/>
                    </a:lnTo>
                    <a:lnTo>
                      <a:pt x="3367" y="1664"/>
                    </a:lnTo>
                    <a:lnTo>
                      <a:pt x="3390" y="1620"/>
                    </a:lnTo>
                    <a:lnTo>
                      <a:pt x="3339" y="1580"/>
                    </a:lnTo>
                    <a:lnTo>
                      <a:pt x="3374" y="1520"/>
                    </a:lnTo>
                    <a:lnTo>
                      <a:pt x="3493" y="1464"/>
                    </a:lnTo>
                    <a:lnTo>
                      <a:pt x="3599" y="1524"/>
                    </a:lnTo>
                    <a:lnTo>
                      <a:pt x="3661" y="1485"/>
                    </a:lnTo>
                    <a:lnTo>
                      <a:pt x="3603" y="1381"/>
                    </a:lnTo>
                    <a:lnTo>
                      <a:pt x="3516" y="1317"/>
                    </a:lnTo>
                    <a:lnTo>
                      <a:pt x="3426" y="1293"/>
                    </a:lnTo>
                    <a:lnTo>
                      <a:pt x="3343" y="1213"/>
                    </a:lnTo>
                    <a:lnTo>
                      <a:pt x="3115" y="1305"/>
                    </a:lnTo>
                    <a:lnTo>
                      <a:pt x="2961" y="1283"/>
                    </a:lnTo>
                    <a:lnTo>
                      <a:pt x="2895" y="1393"/>
                    </a:lnTo>
                    <a:lnTo>
                      <a:pt x="2773" y="1423"/>
                    </a:lnTo>
                    <a:lnTo>
                      <a:pt x="2671" y="1357"/>
                    </a:lnTo>
                    <a:lnTo>
                      <a:pt x="2681" y="1269"/>
                    </a:lnTo>
                    <a:lnTo>
                      <a:pt x="2585" y="1187"/>
                    </a:lnTo>
                    <a:lnTo>
                      <a:pt x="2622" y="902"/>
                    </a:lnTo>
                    <a:lnTo>
                      <a:pt x="2701" y="806"/>
                    </a:lnTo>
                    <a:lnTo>
                      <a:pt x="2642" y="742"/>
                    </a:lnTo>
                    <a:lnTo>
                      <a:pt x="2465" y="731"/>
                    </a:lnTo>
                    <a:lnTo>
                      <a:pt x="2406" y="515"/>
                    </a:lnTo>
                    <a:lnTo>
                      <a:pt x="2483" y="409"/>
                    </a:lnTo>
                    <a:lnTo>
                      <a:pt x="2406" y="203"/>
                    </a:lnTo>
                    <a:lnTo>
                      <a:pt x="2327" y="112"/>
                    </a:lnTo>
                    <a:lnTo>
                      <a:pt x="2181" y="132"/>
                    </a:lnTo>
                    <a:lnTo>
                      <a:pt x="1973" y="156"/>
                    </a:lnTo>
                    <a:lnTo>
                      <a:pt x="1784" y="156"/>
                    </a:lnTo>
                    <a:lnTo>
                      <a:pt x="1618" y="219"/>
                    </a:lnTo>
                    <a:lnTo>
                      <a:pt x="1508" y="60"/>
                    </a:lnTo>
                    <a:lnTo>
                      <a:pt x="1272" y="52"/>
                    </a:lnTo>
                    <a:lnTo>
                      <a:pt x="1051" y="0"/>
                    </a:lnTo>
                    <a:lnTo>
                      <a:pt x="874" y="84"/>
                    </a:lnTo>
                    <a:lnTo>
                      <a:pt x="622" y="344"/>
                    </a:lnTo>
                    <a:lnTo>
                      <a:pt x="407" y="740"/>
                    </a:lnTo>
                    <a:lnTo>
                      <a:pt x="223" y="1007"/>
                    </a:lnTo>
                    <a:lnTo>
                      <a:pt x="0" y="1177"/>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0" name="Freeform 32">
                <a:extLst>
                  <a:ext uri="{FF2B5EF4-FFF2-40B4-BE49-F238E27FC236}">
                    <a16:creationId xmlns:a16="http://schemas.microsoft.com/office/drawing/2014/main" id="{6E652E34-EE64-47CF-A5FA-505F2D3383C8}"/>
                  </a:ext>
                </a:extLst>
              </p:cNvPr>
              <p:cNvSpPr>
                <a:spLocks/>
              </p:cNvSpPr>
              <p:nvPr/>
            </p:nvSpPr>
            <p:spPr bwMode="auto">
              <a:xfrm>
                <a:off x="1787" y="3075"/>
                <a:ext cx="492" cy="343"/>
              </a:xfrm>
              <a:custGeom>
                <a:avLst/>
                <a:gdLst/>
                <a:ahLst/>
                <a:cxnLst>
                  <a:cxn ang="0">
                    <a:pos x="203" y="839"/>
                  </a:cxn>
                  <a:cxn ang="0">
                    <a:pos x="173" y="954"/>
                  </a:cxn>
                  <a:cxn ang="0">
                    <a:pos x="290" y="1004"/>
                  </a:cxn>
                  <a:cxn ang="0">
                    <a:pos x="246" y="1119"/>
                  </a:cxn>
                  <a:cxn ang="0">
                    <a:pos x="266" y="1244"/>
                  </a:cxn>
                  <a:cxn ang="0">
                    <a:pos x="206" y="1359"/>
                  </a:cxn>
                  <a:cxn ang="0">
                    <a:pos x="241" y="1448"/>
                  </a:cxn>
                  <a:cxn ang="0">
                    <a:pos x="94" y="1542"/>
                  </a:cxn>
                  <a:cxn ang="0">
                    <a:pos x="0" y="1587"/>
                  </a:cxn>
                  <a:cxn ang="0">
                    <a:pos x="0" y="1707"/>
                  </a:cxn>
                  <a:cxn ang="0">
                    <a:pos x="94" y="1722"/>
                  </a:cxn>
                  <a:cxn ang="0">
                    <a:pos x="236" y="1632"/>
                  </a:cxn>
                  <a:cxn ang="0">
                    <a:pos x="384" y="1717"/>
                  </a:cxn>
                  <a:cxn ang="0">
                    <a:pos x="399" y="1897"/>
                  </a:cxn>
                  <a:cxn ang="0">
                    <a:pos x="455" y="2045"/>
                  </a:cxn>
                  <a:cxn ang="0">
                    <a:pos x="718" y="2058"/>
                  </a:cxn>
                  <a:cxn ang="0">
                    <a:pos x="1170" y="2150"/>
                  </a:cxn>
                  <a:cxn ang="0">
                    <a:pos x="1590" y="2320"/>
                  </a:cxn>
                  <a:cxn ang="0">
                    <a:pos x="1703" y="2255"/>
                  </a:cxn>
                  <a:cxn ang="0">
                    <a:pos x="1693" y="2180"/>
                  </a:cxn>
                  <a:cxn ang="0">
                    <a:pos x="1728" y="2080"/>
                  </a:cxn>
                  <a:cxn ang="0">
                    <a:pos x="1885" y="2060"/>
                  </a:cxn>
                  <a:cxn ang="0">
                    <a:pos x="2038" y="1977"/>
                  </a:cxn>
                  <a:cxn ang="0">
                    <a:pos x="2254" y="1957"/>
                  </a:cxn>
                  <a:cxn ang="0">
                    <a:pos x="2452" y="2045"/>
                  </a:cxn>
                  <a:cxn ang="0">
                    <a:pos x="2622" y="2043"/>
                  </a:cxn>
                  <a:cxn ang="0">
                    <a:pos x="2737" y="1956"/>
                  </a:cxn>
                  <a:cxn ang="0">
                    <a:pos x="2919" y="1942"/>
                  </a:cxn>
                  <a:cxn ang="0">
                    <a:pos x="2994" y="2017"/>
                  </a:cxn>
                  <a:cxn ang="0">
                    <a:pos x="3140" y="1767"/>
                  </a:cxn>
                  <a:cxn ang="0">
                    <a:pos x="3037" y="1722"/>
                  </a:cxn>
                  <a:cxn ang="0">
                    <a:pos x="3013" y="1642"/>
                  </a:cxn>
                  <a:cxn ang="0">
                    <a:pos x="3140" y="1642"/>
                  </a:cxn>
                  <a:cxn ang="0">
                    <a:pos x="3184" y="1572"/>
                  </a:cxn>
                  <a:cxn ang="0">
                    <a:pos x="3288" y="1524"/>
                  </a:cxn>
                  <a:cxn ang="0">
                    <a:pos x="3216" y="1380"/>
                  </a:cxn>
                  <a:cxn ang="0">
                    <a:pos x="3105" y="1446"/>
                  </a:cxn>
                  <a:cxn ang="0">
                    <a:pos x="3072" y="1379"/>
                  </a:cxn>
                  <a:cxn ang="0">
                    <a:pos x="3155" y="1269"/>
                  </a:cxn>
                  <a:cxn ang="0">
                    <a:pos x="2862" y="1243"/>
                  </a:cxn>
                  <a:cxn ang="0">
                    <a:pos x="2747" y="1179"/>
                  </a:cxn>
                  <a:cxn ang="0">
                    <a:pos x="2805" y="1074"/>
                  </a:cxn>
                  <a:cxn ang="0">
                    <a:pos x="2628" y="671"/>
                  </a:cxn>
                  <a:cxn ang="0">
                    <a:pos x="2658" y="506"/>
                  </a:cxn>
                  <a:cxn ang="0">
                    <a:pos x="2490" y="282"/>
                  </a:cxn>
                  <a:cxn ang="0">
                    <a:pos x="1989" y="267"/>
                  </a:cxn>
                  <a:cxn ang="0">
                    <a:pos x="1753" y="132"/>
                  </a:cxn>
                  <a:cxn ang="0">
                    <a:pos x="1418" y="12"/>
                  </a:cxn>
                  <a:cxn ang="0">
                    <a:pos x="1176" y="62"/>
                  </a:cxn>
                  <a:cxn ang="0">
                    <a:pos x="988" y="0"/>
                  </a:cxn>
                  <a:cxn ang="0">
                    <a:pos x="650" y="182"/>
                  </a:cxn>
                  <a:cxn ang="0">
                    <a:pos x="533" y="412"/>
                  </a:cxn>
                  <a:cxn ang="0">
                    <a:pos x="424" y="527"/>
                  </a:cxn>
                  <a:cxn ang="0">
                    <a:pos x="369" y="718"/>
                  </a:cxn>
                  <a:cxn ang="0">
                    <a:pos x="203" y="839"/>
                  </a:cxn>
                </a:cxnLst>
                <a:rect l="0" t="0" r="r" b="b"/>
                <a:pathLst>
                  <a:path w="3288" h="2320">
                    <a:moveTo>
                      <a:pt x="203" y="839"/>
                    </a:moveTo>
                    <a:lnTo>
                      <a:pt x="173" y="954"/>
                    </a:lnTo>
                    <a:lnTo>
                      <a:pt x="290" y="1004"/>
                    </a:lnTo>
                    <a:lnTo>
                      <a:pt x="246" y="1119"/>
                    </a:lnTo>
                    <a:lnTo>
                      <a:pt x="266" y="1244"/>
                    </a:lnTo>
                    <a:lnTo>
                      <a:pt x="206" y="1359"/>
                    </a:lnTo>
                    <a:lnTo>
                      <a:pt x="241" y="1448"/>
                    </a:lnTo>
                    <a:lnTo>
                      <a:pt x="94" y="1542"/>
                    </a:lnTo>
                    <a:lnTo>
                      <a:pt x="0" y="1587"/>
                    </a:lnTo>
                    <a:lnTo>
                      <a:pt x="0" y="1707"/>
                    </a:lnTo>
                    <a:lnTo>
                      <a:pt x="94" y="1722"/>
                    </a:lnTo>
                    <a:lnTo>
                      <a:pt x="236" y="1632"/>
                    </a:lnTo>
                    <a:lnTo>
                      <a:pt x="384" y="1717"/>
                    </a:lnTo>
                    <a:lnTo>
                      <a:pt x="399" y="1897"/>
                    </a:lnTo>
                    <a:lnTo>
                      <a:pt x="455" y="2045"/>
                    </a:lnTo>
                    <a:lnTo>
                      <a:pt x="718" y="2058"/>
                    </a:lnTo>
                    <a:lnTo>
                      <a:pt x="1170" y="2150"/>
                    </a:lnTo>
                    <a:lnTo>
                      <a:pt x="1590" y="2320"/>
                    </a:lnTo>
                    <a:lnTo>
                      <a:pt x="1703" y="2255"/>
                    </a:lnTo>
                    <a:lnTo>
                      <a:pt x="1693" y="2180"/>
                    </a:lnTo>
                    <a:lnTo>
                      <a:pt x="1728" y="2080"/>
                    </a:lnTo>
                    <a:lnTo>
                      <a:pt x="1885" y="2060"/>
                    </a:lnTo>
                    <a:lnTo>
                      <a:pt x="2038" y="1977"/>
                    </a:lnTo>
                    <a:lnTo>
                      <a:pt x="2254" y="1957"/>
                    </a:lnTo>
                    <a:lnTo>
                      <a:pt x="2452" y="2045"/>
                    </a:lnTo>
                    <a:lnTo>
                      <a:pt x="2622" y="2043"/>
                    </a:lnTo>
                    <a:lnTo>
                      <a:pt x="2737" y="1956"/>
                    </a:lnTo>
                    <a:lnTo>
                      <a:pt x="2919" y="1942"/>
                    </a:lnTo>
                    <a:lnTo>
                      <a:pt x="2994" y="2017"/>
                    </a:lnTo>
                    <a:lnTo>
                      <a:pt x="3140" y="1767"/>
                    </a:lnTo>
                    <a:lnTo>
                      <a:pt x="3037" y="1722"/>
                    </a:lnTo>
                    <a:lnTo>
                      <a:pt x="3013" y="1642"/>
                    </a:lnTo>
                    <a:lnTo>
                      <a:pt x="3140" y="1642"/>
                    </a:lnTo>
                    <a:lnTo>
                      <a:pt x="3184" y="1572"/>
                    </a:lnTo>
                    <a:lnTo>
                      <a:pt x="3288" y="1524"/>
                    </a:lnTo>
                    <a:lnTo>
                      <a:pt x="3216" y="1380"/>
                    </a:lnTo>
                    <a:lnTo>
                      <a:pt x="3105" y="1446"/>
                    </a:lnTo>
                    <a:lnTo>
                      <a:pt x="3072" y="1379"/>
                    </a:lnTo>
                    <a:lnTo>
                      <a:pt x="3155" y="1269"/>
                    </a:lnTo>
                    <a:lnTo>
                      <a:pt x="2862" y="1243"/>
                    </a:lnTo>
                    <a:lnTo>
                      <a:pt x="2747" y="1179"/>
                    </a:lnTo>
                    <a:lnTo>
                      <a:pt x="2805" y="1074"/>
                    </a:lnTo>
                    <a:lnTo>
                      <a:pt x="2628" y="671"/>
                    </a:lnTo>
                    <a:lnTo>
                      <a:pt x="2658" y="506"/>
                    </a:lnTo>
                    <a:lnTo>
                      <a:pt x="2490" y="282"/>
                    </a:lnTo>
                    <a:lnTo>
                      <a:pt x="1989" y="267"/>
                    </a:lnTo>
                    <a:lnTo>
                      <a:pt x="1753" y="132"/>
                    </a:lnTo>
                    <a:lnTo>
                      <a:pt x="1418" y="12"/>
                    </a:lnTo>
                    <a:lnTo>
                      <a:pt x="1176" y="62"/>
                    </a:lnTo>
                    <a:lnTo>
                      <a:pt x="988" y="0"/>
                    </a:lnTo>
                    <a:lnTo>
                      <a:pt x="650" y="182"/>
                    </a:lnTo>
                    <a:lnTo>
                      <a:pt x="533" y="412"/>
                    </a:lnTo>
                    <a:lnTo>
                      <a:pt x="424" y="527"/>
                    </a:lnTo>
                    <a:lnTo>
                      <a:pt x="369" y="718"/>
                    </a:lnTo>
                    <a:lnTo>
                      <a:pt x="203" y="839"/>
                    </a:lnTo>
                    <a:close/>
                  </a:path>
                </a:pathLst>
              </a:custGeom>
              <a:solidFill>
                <a:srgbClr val="00BCFF"/>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1" name="Freeform 33">
                <a:extLst>
                  <a:ext uri="{FF2B5EF4-FFF2-40B4-BE49-F238E27FC236}">
                    <a16:creationId xmlns:a16="http://schemas.microsoft.com/office/drawing/2014/main" id="{7FD895DD-8EF3-472F-81AA-9E973CA38E5B}"/>
                  </a:ext>
                </a:extLst>
              </p:cNvPr>
              <p:cNvSpPr>
                <a:spLocks/>
              </p:cNvSpPr>
              <p:nvPr/>
            </p:nvSpPr>
            <p:spPr bwMode="auto">
              <a:xfrm>
                <a:off x="1846" y="3362"/>
                <a:ext cx="393" cy="267"/>
              </a:xfrm>
              <a:custGeom>
                <a:avLst/>
                <a:gdLst/>
                <a:ahLst/>
                <a:cxnLst>
                  <a:cxn ang="0">
                    <a:pos x="59" y="103"/>
                  </a:cxn>
                  <a:cxn ang="0">
                    <a:pos x="15" y="298"/>
                  </a:cxn>
                  <a:cxn ang="0">
                    <a:pos x="0" y="552"/>
                  </a:cxn>
                  <a:cxn ang="0">
                    <a:pos x="788" y="662"/>
                  </a:cxn>
                  <a:cxn ang="0">
                    <a:pos x="945" y="767"/>
                  </a:cxn>
                  <a:cxn ang="0">
                    <a:pos x="1209" y="878"/>
                  </a:cxn>
                  <a:cxn ang="0">
                    <a:pos x="1414" y="1063"/>
                  </a:cxn>
                  <a:cxn ang="0">
                    <a:pos x="1507" y="1263"/>
                  </a:cxn>
                  <a:cxn ang="0">
                    <a:pos x="1777" y="1376"/>
                  </a:cxn>
                  <a:cxn ang="0">
                    <a:pos x="1922" y="1361"/>
                  </a:cxn>
                  <a:cxn ang="0">
                    <a:pos x="1819" y="1554"/>
                  </a:cxn>
                  <a:cxn ang="0">
                    <a:pos x="1820" y="1720"/>
                  </a:cxn>
                  <a:cxn ang="0">
                    <a:pos x="1909" y="1810"/>
                  </a:cxn>
                  <a:cxn ang="0">
                    <a:pos x="2219" y="1540"/>
                  </a:cxn>
                  <a:cxn ang="0">
                    <a:pos x="2435" y="1456"/>
                  </a:cxn>
                  <a:cxn ang="0">
                    <a:pos x="2377" y="1346"/>
                  </a:cxn>
                  <a:cxn ang="0">
                    <a:pos x="2480" y="1241"/>
                  </a:cxn>
                  <a:cxn ang="0">
                    <a:pos x="2618" y="887"/>
                  </a:cxn>
                  <a:cxn ang="0">
                    <a:pos x="2569" y="732"/>
                  </a:cxn>
                  <a:cxn ang="0">
                    <a:pos x="2584" y="522"/>
                  </a:cxn>
                  <a:cxn ang="0">
                    <a:pos x="2628" y="243"/>
                  </a:cxn>
                  <a:cxn ang="0">
                    <a:pos x="2599" y="75"/>
                  </a:cxn>
                  <a:cxn ang="0">
                    <a:pos x="2527" y="0"/>
                  </a:cxn>
                  <a:cxn ang="0">
                    <a:pos x="2342" y="15"/>
                  </a:cxn>
                  <a:cxn ang="0">
                    <a:pos x="2229" y="100"/>
                  </a:cxn>
                  <a:cxn ang="0">
                    <a:pos x="2052" y="103"/>
                  </a:cxn>
                  <a:cxn ang="0">
                    <a:pos x="1862" y="15"/>
                  </a:cxn>
                  <a:cxn ang="0">
                    <a:pos x="1643" y="36"/>
                  </a:cxn>
                  <a:cxn ang="0">
                    <a:pos x="1489" y="118"/>
                  </a:cxn>
                  <a:cxn ang="0">
                    <a:pos x="1334" y="138"/>
                  </a:cxn>
                  <a:cxn ang="0">
                    <a:pos x="1301" y="238"/>
                  </a:cxn>
                  <a:cxn ang="0">
                    <a:pos x="1306" y="315"/>
                  </a:cxn>
                  <a:cxn ang="0">
                    <a:pos x="1196" y="377"/>
                  </a:cxn>
                  <a:cxn ang="0">
                    <a:pos x="788" y="213"/>
                  </a:cxn>
                  <a:cxn ang="0">
                    <a:pos x="330" y="118"/>
                  </a:cxn>
                  <a:cxn ang="0">
                    <a:pos x="59" y="103"/>
                  </a:cxn>
                </a:cxnLst>
                <a:rect l="0" t="0" r="r" b="b"/>
                <a:pathLst>
                  <a:path w="2628" h="1810">
                    <a:moveTo>
                      <a:pt x="59" y="103"/>
                    </a:moveTo>
                    <a:lnTo>
                      <a:pt x="15" y="298"/>
                    </a:lnTo>
                    <a:lnTo>
                      <a:pt x="0" y="552"/>
                    </a:lnTo>
                    <a:lnTo>
                      <a:pt x="788" y="662"/>
                    </a:lnTo>
                    <a:lnTo>
                      <a:pt x="945" y="767"/>
                    </a:lnTo>
                    <a:lnTo>
                      <a:pt x="1209" y="878"/>
                    </a:lnTo>
                    <a:lnTo>
                      <a:pt x="1414" y="1063"/>
                    </a:lnTo>
                    <a:lnTo>
                      <a:pt x="1507" y="1263"/>
                    </a:lnTo>
                    <a:lnTo>
                      <a:pt x="1777" y="1376"/>
                    </a:lnTo>
                    <a:lnTo>
                      <a:pt x="1922" y="1361"/>
                    </a:lnTo>
                    <a:lnTo>
                      <a:pt x="1819" y="1554"/>
                    </a:lnTo>
                    <a:lnTo>
                      <a:pt x="1820" y="1720"/>
                    </a:lnTo>
                    <a:lnTo>
                      <a:pt x="1909" y="1810"/>
                    </a:lnTo>
                    <a:lnTo>
                      <a:pt x="2219" y="1540"/>
                    </a:lnTo>
                    <a:lnTo>
                      <a:pt x="2435" y="1456"/>
                    </a:lnTo>
                    <a:lnTo>
                      <a:pt x="2377" y="1346"/>
                    </a:lnTo>
                    <a:lnTo>
                      <a:pt x="2480" y="1241"/>
                    </a:lnTo>
                    <a:lnTo>
                      <a:pt x="2618" y="887"/>
                    </a:lnTo>
                    <a:lnTo>
                      <a:pt x="2569" y="732"/>
                    </a:lnTo>
                    <a:lnTo>
                      <a:pt x="2584" y="522"/>
                    </a:lnTo>
                    <a:lnTo>
                      <a:pt x="2628" y="243"/>
                    </a:lnTo>
                    <a:lnTo>
                      <a:pt x="2599" y="75"/>
                    </a:lnTo>
                    <a:lnTo>
                      <a:pt x="2527" y="0"/>
                    </a:lnTo>
                    <a:lnTo>
                      <a:pt x="2342" y="15"/>
                    </a:lnTo>
                    <a:lnTo>
                      <a:pt x="2229" y="100"/>
                    </a:lnTo>
                    <a:lnTo>
                      <a:pt x="2052" y="103"/>
                    </a:lnTo>
                    <a:lnTo>
                      <a:pt x="1862" y="15"/>
                    </a:lnTo>
                    <a:lnTo>
                      <a:pt x="1643" y="36"/>
                    </a:lnTo>
                    <a:lnTo>
                      <a:pt x="1489" y="118"/>
                    </a:lnTo>
                    <a:lnTo>
                      <a:pt x="1334" y="138"/>
                    </a:lnTo>
                    <a:lnTo>
                      <a:pt x="1301" y="238"/>
                    </a:lnTo>
                    <a:lnTo>
                      <a:pt x="1306" y="315"/>
                    </a:lnTo>
                    <a:lnTo>
                      <a:pt x="1196" y="377"/>
                    </a:lnTo>
                    <a:lnTo>
                      <a:pt x="788" y="213"/>
                    </a:lnTo>
                    <a:lnTo>
                      <a:pt x="330" y="118"/>
                    </a:lnTo>
                    <a:lnTo>
                      <a:pt x="59" y="103"/>
                    </a:lnTo>
                    <a:close/>
                  </a:path>
                </a:pathLst>
              </a:custGeom>
              <a:solidFill>
                <a:srgbClr val="00BCFF"/>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2" name="Freeform 34">
                <a:extLst>
                  <a:ext uri="{FF2B5EF4-FFF2-40B4-BE49-F238E27FC236}">
                    <a16:creationId xmlns:a16="http://schemas.microsoft.com/office/drawing/2014/main" id="{FCEAC2A1-B94D-4334-A4E1-7A85A3BD5CE6}"/>
                  </a:ext>
                </a:extLst>
              </p:cNvPr>
              <p:cNvSpPr>
                <a:spLocks/>
              </p:cNvSpPr>
              <p:nvPr/>
            </p:nvSpPr>
            <p:spPr bwMode="auto">
              <a:xfrm>
                <a:off x="1542" y="3444"/>
                <a:ext cx="592" cy="532"/>
              </a:xfrm>
              <a:custGeom>
                <a:avLst/>
                <a:gdLst/>
                <a:ahLst/>
                <a:cxnLst>
                  <a:cxn ang="0">
                    <a:pos x="0" y="1342"/>
                  </a:cxn>
                  <a:cxn ang="0">
                    <a:pos x="134" y="1185"/>
                  </a:cxn>
                  <a:cxn ang="0">
                    <a:pos x="317" y="1008"/>
                  </a:cxn>
                  <a:cxn ang="0">
                    <a:pos x="515" y="765"/>
                  </a:cxn>
                  <a:cxn ang="0">
                    <a:pos x="759" y="552"/>
                  </a:cxn>
                  <a:cxn ang="0">
                    <a:pos x="971" y="366"/>
                  </a:cxn>
                  <a:cxn ang="0">
                    <a:pos x="1270" y="155"/>
                  </a:cxn>
                  <a:cxn ang="0">
                    <a:pos x="1626" y="0"/>
                  </a:cxn>
                  <a:cxn ang="0">
                    <a:pos x="2252" y="86"/>
                  </a:cxn>
                  <a:cxn ang="0">
                    <a:pos x="2380" y="171"/>
                  </a:cxn>
                  <a:cxn ang="0">
                    <a:pos x="2593" y="262"/>
                  </a:cxn>
                  <a:cxn ang="0">
                    <a:pos x="2758" y="410"/>
                  </a:cxn>
                  <a:cxn ang="0">
                    <a:pos x="2829" y="566"/>
                  </a:cxn>
                  <a:cxn ang="0">
                    <a:pos x="3046" y="657"/>
                  </a:cxn>
                  <a:cxn ang="0">
                    <a:pos x="3164" y="645"/>
                  </a:cxn>
                  <a:cxn ang="0">
                    <a:pos x="3081" y="801"/>
                  </a:cxn>
                  <a:cxn ang="0">
                    <a:pos x="3081" y="933"/>
                  </a:cxn>
                  <a:cxn ang="0">
                    <a:pos x="3152" y="1005"/>
                  </a:cxn>
                  <a:cxn ang="0">
                    <a:pos x="3010" y="1232"/>
                  </a:cxn>
                  <a:cxn ang="0">
                    <a:pos x="2751" y="1703"/>
                  </a:cxn>
                  <a:cxn ang="0">
                    <a:pos x="2558" y="1894"/>
                  </a:cxn>
                  <a:cxn ang="0">
                    <a:pos x="2231" y="2122"/>
                  </a:cxn>
                  <a:cxn ang="0">
                    <a:pos x="2207" y="2106"/>
                  </a:cxn>
                  <a:cxn ang="0">
                    <a:pos x="2349" y="2010"/>
                  </a:cxn>
                  <a:cxn ang="0">
                    <a:pos x="2479" y="1890"/>
                  </a:cxn>
                  <a:cxn ang="0">
                    <a:pos x="2502" y="1775"/>
                  </a:cxn>
                  <a:cxn ang="0">
                    <a:pos x="2593" y="1751"/>
                  </a:cxn>
                  <a:cxn ang="0">
                    <a:pos x="2688" y="1631"/>
                  </a:cxn>
                  <a:cxn ang="0">
                    <a:pos x="2735" y="1559"/>
                  </a:cxn>
                  <a:cxn ang="0">
                    <a:pos x="2762" y="1451"/>
                  </a:cxn>
                  <a:cxn ang="0">
                    <a:pos x="2739" y="1376"/>
                  </a:cxn>
                  <a:cxn ang="0">
                    <a:pos x="2640" y="1436"/>
                  </a:cxn>
                  <a:cxn ang="0">
                    <a:pos x="2526" y="1459"/>
                  </a:cxn>
                  <a:cxn ang="0">
                    <a:pos x="2439" y="1627"/>
                  </a:cxn>
                  <a:cxn ang="0">
                    <a:pos x="2384" y="1771"/>
                  </a:cxn>
                  <a:cxn ang="0">
                    <a:pos x="2215" y="1858"/>
                  </a:cxn>
                  <a:cxn ang="0">
                    <a:pos x="2120" y="1986"/>
                  </a:cxn>
                  <a:cxn ang="0">
                    <a:pos x="2054" y="2130"/>
                  </a:cxn>
                  <a:cxn ang="0">
                    <a:pos x="2014" y="2309"/>
                  </a:cxn>
                  <a:cxn ang="0">
                    <a:pos x="1912" y="2553"/>
                  </a:cxn>
                  <a:cxn ang="0">
                    <a:pos x="1719" y="2744"/>
                  </a:cxn>
                  <a:cxn ang="0">
                    <a:pos x="1560" y="2882"/>
                  </a:cxn>
                  <a:cxn ang="0">
                    <a:pos x="1483" y="2840"/>
                  </a:cxn>
                  <a:cxn ang="0">
                    <a:pos x="1506" y="2597"/>
                  </a:cxn>
                  <a:cxn ang="0">
                    <a:pos x="1699" y="2445"/>
                  </a:cxn>
                  <a:cxn ang="0">
                    <a:pos x="1522" y="2321"/>
                  </a:cxn>
                  <a:cxn ang="0">
                    <a:pos x="1475" y="2170"/>
                  </a:cxn>
                  <a:cxn ang="0">
                    <a:pos x="593" y="1555"/>
                  </a:cxn>
                  <a:cxn ang="0">
                    <a:pos x="455" y="1412"/>
                  </a:cxn>
                  <a:cxn ang="0">
                    <a:pos x="313" y="1268"/>
                  </a:cxn>
                  <a:cxn ang="0">
                    <a:pos x="207" y="1284"/>
                  </a:cxn>
                  <a:cxn ang="0">
                    <a:pos x="174" y="1365"/>
                  </a:cxn>
                  <a:cxn ang="0">
                    <a:pos x="0" y="1342"/>
                  </a:cxn>
                </a:cxnLst>
                <a:rect l="0" t="0" r="r" b="b"/>
                <a:pathLst>
                  <a:path w="3164" h="2882">
                    <a:moveTo>
                      <a:pt x="0" y="1342"/>
                    </a:moveTo>
                    <a:lnTo>
                      <a:pt x="134" y="1185"/>
                    </a:lnTo>
                    <a:lnTo>
                      <a:pt x="317" y="1008"/>
                    </a:lnTo>
                    <a:lnTo>
                      <a:pt x="515" y="765"/>
                    </a:lnTo>
                    <a:lnTo>
                      <a:pt x="759" y="552"/>
                    </a:lnTo>
                    <a:lnTo>
                      <a:pt x="971" y="366"/>
                    </a:lnTo>
                    <a:lnTo>
                      <a:pt x="1270" y="155"/>
                    </a:lnTo>
                    <a:lnTo>
                      <a:pt x="1626" y="0"/>
                    </a:lnTo>
                    <a:lnTo>
                      <a:pt x="2252" y="86"/>
                    </a:lnTo>
                    <a:lnTo>
                      <a:pt x="2380" y="171"/>
                    </a:lnTo>
                    <a:lnTo>
                      <a:pt x="2593" y="262"/>
                    </a:lnTo>
                    <a:lnTo>
                      <a:pt x="2758" y="410"/>
                    </a:lnTo>
                    <a:lnTo>
                      <a:pt x="2829" y="566"/>
                    </a:lnTo>
                    <a:lnTo>
                      <a:pt x="3046" y="657"/>
                    </a:lnTo>
                    <a:lnTo>
                      <a:pt x="3164" y="645"/>
                    </a:lnTo>
                    <a:lnTo>
                      <a:pt x="3081" y="801"/>
                    </a:lnTo>
                    <a:lnTo>
                      <a:pt x="3081" y="933"/>
                    </a:lnTo>
                    <a:lnTo>
                      <a:pt x="3152" y="1005"/>
                    </a:lnTo>
                    <a:lnTo>
                      <a:pt x="3010" y="1232"/>
                    </a:lnTo>
                    <a:lnTo>
                      <a:pt x="2751" y="1703"/>
                    </a:lnTo>
                    <a:lnTo>
                      <a:pt x="2558" y="1894"/>
                    </a:lnTo>
                    <a:lnTo>
                      <a:pt x="2231" y="2122"/>
                    </a:lnTo>
                    <a:lnTo>
                      <a:pt x="2207" y="2106"/>
                    </a:lnTo>
                    <a:lnTo>
                      <a:pt x="2349" y="2010"/>
                    </a:lnTo>
                    <a:lnTo>
                      <a:pt x="2479" y="1890"/>
                    </a:lnTo>
                    <a:lnTo>
                      <a:pt x="2502" y="1775"/>
                    </a:lnTo>
                    <a:lnTo>
                      <a:pt x="2593" y="1751"/>
                    </a:lnTo>
                    <a:lnTo>
                      <a:pt x="2688" y="1631"/>
                    </a:lnTo>
                    <a:lnTo>
                      <a:pt x="2735" y="1559"/>
                    </a:lnTo>
                    <a:lnTo>
                      <a:pt x="2762" y="1451"/>
                    </a:lnTo>
                    <a:lnTo>
                      <a:pt x="2739" y="1376"/>
                    </a:lnTo>
                    <a:lnTo>
                      <a:pt x="2640" y="1436"/>
                    </a:lnTo>
                    <a:lnTo>
                      <a:pt x="2526" y="1459"/>
                    </a:lnTo>
                    <a:lnTo>
                      <a:pt x="2439" y="1627"/>
                    </a:lnTo>
                    <a:lnTo>
                      <a:pt x="2384" y="1771"/>
                    </a:lnTo>
                    <a:lnTo>
                      <a:pt x="2215" y="1858"/>
                    </a:lnTo>
                    <a:lnTo>
                      <a:pt x="2120" y="1986"/>
                    </a:lnTo>
                    <a:lnTo>
                      <a:pt x="2054" y="2130"/>
                    </a:lnTo>
                    <a:lnTo>
                      <a:pt x="2014" y="2309"/>
                    </a:lnTo>
                    <a:lnTo>
                      <a:pt x="1912" y="2553"/>
                    </a:lnTo>
                    <a:lnTo>
                      <a:pt x="1719" y="2744"/>
                    </a:lnTo>
                    <a:lnTo>
                      <a:pt x="1560" y="2882"/>
                    </a:lnTo>
                    <a:lnTo>
                      <a:pt x="1483" y="2840"/>
                    </a:lnTo>
                    <a:lnTo>
                      <a:pt x="1506" y="2597"/>
                    </a:lnTo>
                    <a:lnTo>
                      <a:pt x="1699" y="2445"/>
                    </a:lnTo>
                    <a:lnTo>
                      <a:pt x="1522" y="2321"/>
                    </a:lnTo>
                    <a:lnTo>
                      <a:pt x="1475" y="2170"/>
                    </a:lnTo>
                    <a:lnTo>
                      <a:pt x="593" y="1555"/>
                    </a:lnTo>
                    <a:lnTo>
                      <a:pt x="455" y="1412"/>
                    </a:lnTo>
                    <a:lnTo>
                      <a:pt x="313" y="1268"/>
                    </a:lnTo>
                    <a:lnTo>
                      <a:pt x="207" y="1284"/>
                    </a:lnTo>
                    <a:lnTo>
                      <a:pt x="174" y="1365"/>
                    </a:lnTo>
                    <a:lnTo>
                      <a:pt x="0" y="1342"/>
                    </a:lnTo>
                    <a:close/>
                  </a:path>
                </a:pathLst>
              </a:custGeom>
              <a:solidFill>
                <a:srgbClr val="73BC44"/>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3" name="Freeform 35">
                <a:extLst>
                  <a:ext uri="{FF2B5EF4-FFF2-40B4-BE49-F238E27FC236}">
                    <a16:creationId xmlns:a16="http://schemas.microsoft.com/office/drawing/2014/main" id="{22322E0E-5C12-4072-8F7F-BD0EAB78E08A}"/>
                  </a:ext>
                </a:extLst>
              </p:cNvPr>
              <p:cNvSpPr>
                <a:spLocks/>
              </p:cNvSpPr>
              <p:nvPr/>
            </p:nvSpPr>
            <p:spPr bwMode="auto">
              <a:xfrm>
                <a:off x="1937" y="2266"/>
                <a:ext cx="588" cy="561"/>
              </a:xfrm>
              <a:custGeom>
                <a:avLst/>
                <a:gdLst/>
                <a:ahLst/>
                <a:cxnLst>
                  <a:cxn ang="0">
                    <a:pos x="1585" y="15"/>
                  </a:cxn>
                  <a:cxn ang="0">
                    <a:pos x="1668" y="175"/>
                  </a:cxn>
                  <a:cxn ang="0">
                    <a:pos x="2069" y="352"/>
                  </a:cxn>
                  <a:cxn ang="0">
                    <a:pos x="2224" y="150"/>
                  </a:cxn>
                  <a:cxn ang="0">
                    <a:pos x="2406" y="100"/>
                  </a:cxn>
                  <a:cxn ang="0">
                    <a:pos x="2466" y="370"/>
                  </a:cxn>
                  <a:cxn ang="0">
                    <a:pos x="2799" y="277"/>
                  </a:cxn>
                  <a:cxn ang="0">
                    <a:pos x="3064" y="405"/>
                  </a:cxn>
                  <a:cxn ang="0">
                    <a:pos x="3657" y="162"/>
                  </a:cxn>
                  <a:cxn ang="0">
                    <a:pos x="3892" y="240"/>
                  </a:cxn>
                  <a:cxn ang="0">
                    <a:pos x="3774" y="789"/>
                  </a:cxn>
                  <a:cxn ang="0">
                    <a:pos x="3922" y="1054"/>
                  </a:cxn>
                  <a:cxn ang="0">
                    <a:pos x="3867" y="1394"/>
                  </a:cxn>
                  <a:cxn ang="0">
                    <a:pos x="3603" y="1257"/>
                  </a:cxn>
                  <a:cxn ang="0">
                    <a:pos x="3583" y="1462"/>
                  </a:cxn>
                  <a:cxn ang="0">
                    <a:pos x="3392" y="1512"/>
                  </a:cxn>
                  <a:cxn ang="0">
                    <a:pos x="3377" y="1850"/>
                  </a:cxn>
                  <a:cxn ang="0">
                    <a:pos x="3052" y="2225"/>
                  </a:cxn>
                  <a:cxn ang="0">
                    <a:pos x="3160" y="2529"/>
                  </a:cxn>
                  <a:cxn ang="0">
                    <a:pos x="2998" y="2798"/>
                  </a:cxn>
                  <a:cxn ang="0">
                    <a:pos x="3057" y="2988"/>
                  </a:cxn>
                  <a:cxn ang="0">
                    <a:pos x="2934" y="3166"/>
                  </a:cxn>
                  <a:cxn ang="0">
                    <a:pos x="2609" y="3246"/>
                  </a:cxn>
                  <a:cxn ang="0">
                    <a:pos x="1974" y="3351"/>
                  </a:cxn>
                  <a:cxn ang="0">
                    <a:pos x="1447" y="3396"/>
                  </a:cxn>
                  <a:cxn ang="0">
                    <a:pos x="1118" y="3801"/>
                  </a:cxn>
                  <a:cxn ang="0">
                    <a:pos x="428" y="3396"/>
                  </a:cxn>
                  <a:cxn ang="0">
                    <a:pos x="113" y="3331"/>
                  </a:cxn>
                  <a:cxn ang="0">
                    <a:pos x="73" y="3148"/>
                  </a:cxn>
                  <a:cxn ang="0">
                    <a:pos x="0" y="2762"/>
                  </a:cxn>
                  <a:cxn ang="0">
                    <a:pos x="83" y="2502"/>
                  </a:cxn>
                  <a:cxn ang="0">
                    <a:pos x="260" y="2270"/>
                  </a:cxn>
                  <a:cxn ang="0">
                    <a:pos x="693" y="1744"/>
                  </a:cxn>
                  <a:cxn ang="0">
                    <a:pos x="928" y="1372"/>
                  </a:cxn>
                  <a:cxn ang="0">
                    <a:pos x="1240" y="1131"/>
                  </a:cxn>
                  <a:cxn ang="0">
                    <a:pos x="1343" y="818"/>
                  </a:cxn>
                  <a:cxn ang="0">
                    <a:pos x="1478" y="350"/>
                  </a:cxn>
                </a:cxnLst>
                <a:rect l="0" t="0" r="r" b="b"/>
                <a:pathLst>
                  <a:path w="3928" h="3801">
                    <a:moveTo>
                      <a:pt x="1563" y="182"/>
                    </a:moveTo>
                    <a:lnTo>
                      <a:pt x="1585" y="15"/>
                    </a:lnTo>
                    <a:lnTo>
                      <a:pt x="1648" y="67"/>
                    </a:lnTo>
                    <a:lnTo>
                      <a:pt x="1668" y="175"/>
                    </a:lnTo>
                    <a:lnTo>
                      <a:pt x="1991" y="255"/>
                    </a:lnTo>
                    <a:lnTo>
                      <a:pt x="2069" y="352"/>
                    </a:lnTo>
                    <a:lnTo>
                      <a:pt x="2209" y="297"/>
                    </a:lnTo>
                    <a:lnTo>
                      <a:pt x="2224" y="150"/>
                    </a:lnTo>
                    <a:lnTo>
                      <a:pt x="2344" y="0"/>
                    </a:lnTo>
                    <a:lnTo>
                      <a:pt x="2406" y="100"/>
                    </a:lnTo>
                    <a:lnTo>
                      <a:pt x="2416" y="280"/>
                    </a:lnTo>
                    <a:lnTo>
                      <a:pt x="2466" y="370"/>
                    </a:lnTo>
                    <a:lnTo>
                      <a:pt x="2581" y="280"/>
                    </a:lnTo>
                    <a:lnTo>
                      <a:pt x="2799" y="277"/>
                    </a:lnTo>
                    <a:lnTo>
                      <a:pt x="2832" y="405"/>
                    </a:lnTo>
                    <a:lnTo>
                      <a:pt x="3064" y="405"/>
                    </a:lnTo>
                    <a:lnTo>
                      <a:pt x="3450" y="300"/>
                    </a:lnTo>
                    <a:lnTo>
                      <a:pt x="3657" y="162"/>
                    </a:lnTo>
                    <a:lnTo>
                      <a:pt x="3824" y="161"/>
                    </a:lnTo>
                    <a:lnTo>
                      <a:pt x="3892" y="240"/>
                    </a:lnTo>
                    <a:lnTo>
                      <a:pt x="3869" y="460"/>
                    </a:lnTo>
                    <a:lnTo>
                      <a:pt x="3774" y="789"/>
                    </a:lnTo>
                    <a:lnTo>
                      <a:pt x="3839" y="949"/>
                    </a:lnTo>
                    <a:lnTo>
                      <a:pt x="3922" y="1054"/>
                    </a:lnTo>
                    <a:lnTo>
                      <a:pt x="3928" y="1252"/>
                    </a:lnTo>
                    <a:lnTo>
                      <a:pt x="3867" y="1394"/>
                    </a:lnTo>
                    <a:lnTo>
                      <a:pt x="3735" y="1357"/>
                    </a:lnTo>
                    <a:lnTo>
                      <a:pt x="3603" y="1257"/>
                    </a:lnTo>
                    <a:lnTo>
                      <a:pt x="3559" y="1372"/>
                    </a:lnTo>
                    <a:lnTo>
                      <a:pt x="3583" y="1462"/>
                    </a:lnTo>
                    <a:lnTo>
                      <a:pt x="3455" y="1407"/>
                    </a:lnTo>
                    <a:lnTo>
                      <a:pt x="3392" y="1512"/>
                    </a:lnTo>
                    <a:lnTo>
                      <a:pt x="3362" y="1670"/>
                    </a:lnTo>
                    <a:lnTo>
                      <a:pt x="3377" y="1850"/>
                    </a:lnTo>
                    <a:lnTo>
                      <a:pt x="3155" y="2001"/>
                    </a:lnTo>
                    <a:lnTo>
                      <a:pt x="3052" y="2225"/>
                    </a:lnTo>
                    <a:lnTo>
                      <a:pt x="3175" y="2364"/>
                    </a:lnTo>
                    <a:lnTo>
                      <a:pt x="3160" y="2529"/>
                    </a:lnTo>
                    <a:lnTo>
                      <a:pt x="2983" y="2693"/>
                    </a:lnTo>
                    <a:lnTo>
                      <a:pt x="2998" y="2798"/>
                    </a:lnTo>
                    <a:lnTo>
                      <a:pt x="3097" y="2828"/>
                    </a:lnTo>
                    <a:lnTo>
                      <a:pt x="3057" y="2988"/>
                    </a:lnTo>
                    <a:lnTo>
                      <a:pt x="3125" y="3106"/>
                    </a:lnTo>
                    <a:lnTo>
                      <a:pt x="2934" y="3166"/>
                    </a:lnTo>
                    <a:lnTo>
                      <a:pt x="2717" y="3291"/>
                    </a:lnTo>
                    <a:lnTo>
                      <a:pt x="2609" y="3246"/>
                    </a:lnTo>
                    <a:lnTo>
                      <a:pt x="2195" y="3216"/>
                    </a:lnTo>
                    <a:lnTo>
                      <a:pt x="1974" y="3351"/>
                    </a:lnTo>
                    <a:lnTo>
                      <a:pt x="1757" y="3346"/>
                    </a:lnTo>
                    <a:lnTo>
                      <a:pt x="1447" y="3396"/>
                    </a:lnTo>
                    <a:lnTo>
                      <a:pt x="1328" y="3590"/>
                    </a:lnTo>
                    <a:lnTo>
                      <a:pt x="1118" y="3801"/>
                    </a:lnTo>
                    <a:lnTo>
                      <a:pt x="619" y="3561"/>
                    </a:lnTo>
                    <a:lnTo>
                      <a:pt x="428" y="3396"/>
                    </a:lnTo>
                    <a:lnTo>
                      <a:pt x="171" y="3411"/>
                    </a:lnTo>
                    <a:lnTo>
                      <a:pt x="113" y="3331"/>
                    </a:lnTo>
                    <a:lnTo>
                      <a:pt x="176" y="3204"/>
                    </a:lnTo>
                    <a:lnTo>
                      <a:pt x="73" y="3148"/>
                    </a:lnTo>
                    <a:lnTo>
                      <a:pt x="9" y="2948"/>
                    </a:lnTo>
                    <a:lnTo>
                      <a:pt x="0" y="2762"/>
                    </a:lnTo>
                    <a:lnTo>
                      <a:pt x="5" y="2608"/>
                    </a:lnTo>
                    <a:lnTo>
                      <a:pt x="83" y="2502"/>
                    </a:lnTo>
                    <a:lnTo>
                      <a:pt x="84" y="2347"/>
                    </a:lnTo>
                    <a:lnTo>
                      <a:pt x="260" y="2270"/>
                    </a:lnTo>
                    <a:lnTo>
                      <a:pt x="510" y="1789"/>
                    </a:lnTo>
                    <a:lnTo>
                      <a:pt x="693" y="1744"/>
                    </a:lnTo>
                    <a:lnTo>
                      <a:pt x="838" y="1576"/>
                    </a:lnTo>
                    <a:lnTo>
                      <a:pt x="928" y="1372"/>
                    </a:lnTo>
                    <a:lnTo>
                      <a:pt x="1136" y="1317"/>
                    </a:lnTo>
                    <a:lnTo>
                      <a:pt x="1240" y="1131"/>
                    </a:lnTo>
                    <a:lnTo>
                      <a:pt x="1252" y="939"/>
                    </a:lnTo>
                    <a:lnTo>
                      <a:pt x="1343" y="818"/>
                    </a:lnTo>
                    <a:lnTo>
                      <a:pt x="1354" y="668"/>
                    </a:lnTo>
                    <a:lnTo>
                      <a:pt x="1478" y="350"/>
                    </a:lnTo>
                    <a:lnTo>
                      <a:pt x="1563" y="182"/>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4" name="Freeform 36">
                <a:extLst>
                  <a:ext uri="{FF2B5EF4-FFF2-40B4-BE49-F238E27FC236}">
                    <a16:creationId xmlns:a16="http://schemas.microsoft.com/office/drawing/2014/main" id="{611B49EA-53AA-49A6-A32C-473B11414ADB}"/>
                  </a:ext>
                </a:extLst>
              </p:cNvPr>
              <p:cNvSpPr>
                <a:spLocks/>
              </p:cNvSpPr>
              <p:nvPr/>
            </p:nvSpPr>
            <p:spPr bwMode="auto">
              <a:xfrm>
                <a:off x="2094" y="2411"/>
                <a:ext cx="902" cy="710"/>
              </a:xfrm>
              <a:custGeom>
                <a:avLst/>
                <a:gdLst/>
                <a:ahLst/>
                <a:cxnLst>
                  <a:cxn ang="0">
                    <a:pos x="2846" y="526"/>
                  </a:cxn>
                  <a:cxn ang="0">
                    <a:pos x="3235" y="284"/>
                  </a:cxn>
                  <a:cxn ang="0">
                    <a:pos x="3746" y="0"/>
                  </a:cxn>
                  <a:cxn ang="0">
                    <a:pos x="3998" y="140"/>
                  </a:cxn>
                  <a:cxn ang="0">
                    <a:pos x="4165" y="304"/>
                  </a:cxn>
                  <a:cxn ang="0">
                    <a:pos x="4588" y="394"/>
                  </a:cxn>
                  <a:cxn ang="0">
                    <a:pos x="5075" y="554"/>
                  </a:cxn>
                  <a:cxn ang="0">
                    <a:pos x="5286" y="917"/>
                  </a:cxn>
                  <a:cxn ang="0">
                    <a:pos x="5858" y="977"/>
                  </a:cxn>
                  <a:cxn ang="0">
                    <a:pos x="5833" y="1302"/>
                  </a:cxn>
                  <a:cxn ang="0">
                    <a:pos x="5769" y="1556"/>
                  </a:cxn>
                  <a:cxn ang="0">
                    <a:pos x="5578" y="1756"/>
                  </a:cxn>
                  <a:cxn ang="0">
                    <a:pos x="5774" y="2066"/>
                  </a:cxn>
                  <a:cxn ang="0">
                    <a:pos x="5568" y="2110"/>
                  </a:cxn>
                  <a:cxn ang="0">
                    <a:pos x="5370" y="2130"/>
                  </a:cxn>
                  <a:cxn ang="0">
                    <a:pos x="5258" y="2290"/>
                  </a:cxn>
                  <a:cxn ang="0">
                    <a:pos x="5301" y="2573"/>
                  </a:cxn>
                  <a:cxn ang="0">
                    <a:pos x="5258" y="2758"/>
                  </a:cxn>
                  <a:cxn ang="0">
                    <a:pos x="5095" y="3177"/>
                  </a:cxn>
                  <a:cxn ang="0">
                    <a:pos x="4750" y="3442"/>
                  </a:cxn>
                  <a:cxn ang="0">
                    <a:pos x="4564" y="3876"/>
                  </a:cxn>
                  <a:cxn ang="0">
                    <a:pos x="4455" y="4224"/>
                  </a:cxn>
                  <a:cxn ang="0">
                    <a:pos x="3884" y="4404"/>
                  </a:cxn>
                  <a:cxn ang="0">
                    <a:pos x="3116" y="4538"/>
                  </a:cxn>
                  <a:cxn ang="0">
                    <a:pos x="2641" y="4625"/>
                  </a:cxn>
                  <a:cxn ang="0">
                    <a:pos x="2403" y="4803"/>
                  </a:cxn>
                  <a:cxn ang="0">
                    <a:pos x="2290" y="4608"/>
                  </a:cxn>
                  <a:cxn ang="0">
                    <a:pos x="2211" y="4149"/>
                  </a:cxn>
                  <a:cxn ang="0">
                    <a:pos x="2240" y="3951"/>
                  </a:cxn>
                  <a:cxn ang="0">
                    <a:pos x="1945" y="3671"/>
                  </a:cxn>
                  <a:cxn ang="0">
                    <a:pos x="1950" y="3282"/>
                  </a:cxn>
                  <a:cxn ang="0">
                    <a:pos x="1419" y="3216"/>
                  </a:cxn>
                  <a:cxn ang="0">
                    <a:pos x="961" y="3294"/>
                  </a:cxn>
                  <a:cxn ang="0">
                    <a:pos x="530" y="3087"/>
                  </a:cxn>
                  <a:cxn ang="0">
                    <a:pos x="34" y="3123"/>
                  </a:cxn>
                  <a:cxn ang="0">
                    <a:pos x="71" y="2818"/>
                  </a:cxn>
                  <a:cxn ang="0">
                    <a:pos x="404" y="2411"/>
                  </a:cxn>
                  <a:cxn ang="0">
                    <a:pos x="931" y="2366"/>
                  </a:cxn>
                  <a:cxn ang="0">
                    <a:pos x="1561" y="2261"/>
                  </a:cxn>
                  <a:cxn ang="0">
                    <a:pos x="1889" y="2183"/>
                  </a:cxn>
                  <a:cxn ang="0">
                    <a:pos x="2009" y="2005"/>
                  </a:cxn>
                  <a:cxn ang="0">
                    <a:pos x="1948" y="1813"/>
                  </a:cxn>
                  <a:cxn ang="0">
                    <a:pos x="2111" y="1546"/>
                  </a:cxn>
                  <a:cxn ang="0">
                    <a:pos x="2004" y="1242"/>
                  </a:cxn>
                  <a:cxn ang="0">
                    <a:pos x="2329" y="865"/>
                  </a:cxn>
                  <a:cxn ang="0">
                    <a:pos x="2344" y="529"/>
                  </a:cxn>
                  <a:cxn ang="0">
                    <a:pos x="2536" y="479"/>
                  </a:cxn>
                  <a:cxn ang="0">
                    <a:pos x="2556" y="276"/>
                  </a:cxn>
                  <a:cxn ang="0">
                    <a:pos x="2816" y="409"/>
                  </a:cxn>
                </a:cxnLst>
                <a:rect l="0" t="0" r="r" b="b"/>
                <a:pathLst>
                  <a:path w="6025" h="4803">
                    <a:moveTo>
                      <a:pt x="2816" y="409"/>
                    </a:moveTo>
                    <a:lnTo>
                      <a:pt x="2846" y="526"/>
                    </a:lnTo>
                    <a:lnTo>
                      <a:pt x="3019" y="446"/>
                    </a:lnTo>
                    <a:lnTo>
                      <a:pt x="3235" y="284"/>
                    </a:lnTo>
                    <a:lnTo>
                      <a:pt x="3500" y="95"/>
                    </a:lnTo>
                    <a:lnTo>
                      <a:pt x="3746" y="0"/>
                    </a:lnTo>
                    <a:lnTo>
                      <a:pt x="3968" y="45"/>
                    </a:lnTo>
                    <a:lnTo>
                      <a:pt x="3998" y="140"/>
                    </a:lnTo>
                    <a:lnTo>
                      <a:pt x="3983" y="284"/>
                    </a:lnTo>
                    <a:lnTo>
                      <a:pt x="4165" y="304"/>
                    </a:lnTo>
                    <a:lnTo>
                      <a:pt x="4351" y="245"/>
                    </a:lnTo>
                    <a:lnTo>
                      <a:pt x="4588" y="394"/>
                    </a:lnTo>
                    <a:lnTo>
                      <a:pt x="4859" y="529"/>
                    </a:lnTo>
                    <a:lnTo>
                      <a:pt x="5075" y="554"/>
                    </a:lnTo>
                    <a:lnTo>
                      <a:pt x="5208" y="694"/>
                    </a:lnTo>
                    <a:lnTo>
                      <a:pt x="5286" y="917"/>
                    </a:lnTo>
                    <a:lnTo>
                      <a:pt x="5504" y="857"/>
                    </a:lnTo>
                    <a:lnTo>
                      <a:pt x="5858" y="977"/>
                    </a:lnTo>
                    <a:lnTo>
                      <a:pt x="6025" y="1142"/>
                    </a:lnTo>
                    <a:lnTo>
                      <a:pt x="5833" y="1302"/>
                    </a:lnTo>
                    <a:lnTo>
                      <a:pt x="5754" y="1441"/>
                    </a:lnTo>
                    <a:lnTo>
                      <a:pt x="5769" y="1556"/>
                    </a:lnTo>
                    <a:lnTo>
                      <a:pt x="5636" y="1571"/>
                    </a:lnTo>
                    <a:lnTo>
                      <a:pt x="5578" y="1756"/>
                    </a:lnTo>
                    <a:lnTo>
                      <a:pt x="5596" y="1915"/>
                    </a:lnTo>
                    <a:lnTo>
                      <a:pt x="5774" y="2066"/>
                    </a:lnTo>
                    <a:lnTo>
                      <a:pt x="5716" y="2171"/>
                    </a:lnTo>
                    <a:lnTo>
                      <a:pt x="5568" y="2110"/>
                    </a:lnTo>
                    <a:lnTo>
                      <a:pt x="5479" y="2145"/>
                    </a:lnTo>
                    <a:lnTo>
                      <a:pt x="5370" y="2130"/>
                    </a:lnTo>
                    <a:lnTo>
                      <a:pt x="5356" y="2245"/>
                    </a:lnTo>
                    <a:lnTo>
                      <a:pt x="5258" y="2290"/>
                    </a:lnTo>
                    <a:lnTo>
                      <a:pt x="5296" y="2413"/>
                    </a:lnTo>
                    <a:lnTo>
                      <a:pt x="5301" y="2573"/>
                    </a:lnTo>
                    <a:lnTo>
                      <a:pt x="5169" y="2648"/>
                    </a:lnTo>
                    <a:lnTo>
                      <a:pt x="5258" y="2758"/>
                    </a:lnTo>
                    <a:lnTo>
                      <a:pt x="5258" y="2967"/>
                    </a:lnTo>
                    <a:lnTo>
                      <a:pt x="5095" y="3177"/>
                    </a:lnTo>
                    <a:lnTo>
                      <a:pt x="4986" y="3382"/>
                    </a:lnTo>
                    <a:lnTo>
                      <a:pt x="4750" y="3442"/>
                    </a:lnTo>
                    <a:lnTo>
                      <a:pt x="4714" y="3711"/>
                    </a:lnTo>
                    <a:lnTo>
                      <a:pt x="4564" y="3876"/>
                    </a:lnTo>
                    <a:lnTo>
                      <a:pt x="4416" y="4114"/>
                    </a:lnTo>
                    <a:lnTo>
                      <a:pt x="4455" y="4224"/>
                    </a:lnTo>
                    <a:lnTo>
                      <a:pt x="4160" y="4354"/>
                    </a:lnTo>
                    <a:lnTo>
                      <a:pt x="3884" y="4404"/>
                    </a:lnTo>
                    <a:lnTo>
                      <a:pt x="3599" y="4384"/>
                    </a:lnTo>
                    <a:lnTo>
                      <a:pt x="3116" y="4538"/>
                    </a:lnTo>
                    <a:lnTo>
                      <a:pt x="2831" y="4653"/>
                    </a:lnTo>
                    <a:lnTo>
                      <a:pt x="2641" y="4625"/>
                    </a:lnTo>
                    <a:lnTo>
                      <a:pt x="2555" y="4763"/>
                    </a:lnTo>
                    <a:lnTo>
                      <a:pt x="2403" y="4803"/>
                    </a:lnTo>
                    <a:lnTo>
                      <a:pt x="2275" y="4718"/>
                    </a:lnTo>
                    <a:lnTo>
                      <a:pt x="2290" y="4608"/>
                    </a:lnTo>
                    <a:lnTo>
                      <a:pt x="2171" y="4504"/>
                    </a:lnTo>
                    <a:lnTo>
                      <a:pt x="2211" y="4149"/>
                    </a:lnTo>
                    <a:lnTo>
                      <a:pt x="2314" y="4029"/>
                    </a:lnTo>
                    <a:lnTo>
                      <a:pt x="2240" y="3951"/>
                    </a:lnTo>
                    <a:lnTo>
                      <a:pt x="2019" y="3936"/>
                    </a:lnTo>
                    <a:lnTo>
                      <a:pt x="1945" y="3671"/>
                    </a:lnTo>
                    <a:lnTo>
                      <a:pt x="2039" y="3536"/>
                    </a:lnTo>
                    <a:lnTo>
                      <a:pt x="1950" y="3282"/>
                    </a:lnTo>
                    <a:lnTo>
                      <a:pt x="1846" y="3163"/>
                    </a:lnTo>
                    <a:lnTo>
                      <a:pt x="1419" y="3216"/>
                    </a:lnTo>
                    <a:lnTo>
                      <a:pt x="1169" y="3216"/>
                    </a:lnTo>
                    <a:lnTo>
                      <a:pt x="961" y="3294"/>
                    </a:lnTo>
                    <a:lnTo>
                      <a:pt x="824" y="3096"/>
                    </a:lnTo>
                    <a:lnTo>
                      <a:pt x="530" y="3087"/>
                    </a:lnTo>
                    <a:lnTo>
                      <a:pt x="251" y="3023"/>
                    </a:lnTo>
                    <a:lnTo>
                      <a:pt x="34" y="3123"/>
                    </a:lnTo>
                    <a:lnTo>
                      <a:pt x="0" y="2987"/>
                    </a:lnTo>
                    <a:lnTo>
                      <a:pt x="71" y="2818"/>
                    </a:lnTo>
                    <a:lnTo>
                      <a:pt x="284" y="2606"/>
                    </a:lnTo>
                    <a:lnTo>
                      <a:pt x="404" y="2411"/>
                    </a:lnTo>
                    <a:lnTo>
                      <a:pt x="711" y="2363"/>
                    </a:lnTo>
                    <a:lnTo>
                      <a:pt x="931" y="2366"/>
                    </a:lnTo>
                    <a:lnTo>
                      <a:pt x="1151" y="2233"/>
                    </a:lnTo>
                    <a:lnTo>
                      <a:pt x="1561" y="2261"/>
                    </a:lnTo>
                    <a:lnTo>
                      <a:pt x="1670" y="2310"/>
                    </a:lnTo>
                    <a:lnTo>
                      <a:pt x="1889" y="2183"/>
                    </a:lnTo>
                    <a:lnTo>
                      <a:pt x="2076" y="2123"/>
                    </a:lnTo>
                    <a:lnTo>
                      <a:pt x="2009" y="2005"/>
                    </a:lnTo>
                    <a:lnTo>
                      <a:pt x="2051" y="1846"/>
                    </a:lnTo>
                    <a:lnTo>
                      <a:pt x="1948" y="1813"/>
                    </a:lnTo>
                    <a:lnTo>
                      <a:pt x="1935" y="1712"/>
                    </a:lnTo>
                    <a:lnTo>
                      <a:pt x="2111" y="1546"/>
                    </a:lnTo>
                    <a:lnTo>
                      <a:pt x="2128" y="1381"/>
                    </a:lnTo>
                    <a:lnTo>
                      <a:pt x="2004" y="1242"/>
                    </a:lnTo>
                    <a:lnTo>
                      <a:pt x="2109" y="1017"/>
                    </a:lnTo>
                    <a:lnTo>
                      <a:pt x="2329" y="865"/>
                    </a:lnTo>
                    <a:lnTo>
                      <a:pt x="2314" y="686"/>
                    </a:lnTo>
                    <a:lnTo>
                      <a:pt x="2344" y="529"/>
                    </a:lnTo>
                    <a:lnTo>
                      <a:pt x="2409" y="424"/>
                    </a:lnTo>
                    <a:lnTo>
                      <a:pt x="2536" y="479"/>
                    </a:lnTo>
                    <a:lnTo>
                      <a:pt x="2511" y="389"/>
                    </a:lnTo>
                    <a:lnTo>
                      <a:pt x="2556" y="276"/>
                    </a:lnTo>
                    <a:lnTo>
                      <a:pt x="2698" y="379"/>
                    </a:lnTo>
                    <a:lnTo>
                      <a:pt x="2816" y="40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5" name="Freeform 37">
                <a:extLst>
                  <a:ext uri="{FF2B5EF4-FFF2-40B4-BE49-F238E27FC236}">
                    <a16:creationId xmlns:a16="http://schemas.microsoft.com/office/drawing/2014/main" id="{FB2E28CD-7C8A-43B3-8496-7B1DFEA8F740}"/>
                  </a:ext>
                </a:extLst>
              </p:cNvPr>
              <p:cNvSpPr>
                <a:spLocks/>
              </p:cNvSpPr>
              <p:nvPr/>
            </p:nvSpPr>
            <p:spPr bwMode="auto">
              <a:xfrm>
                <a:off x="2561" y="2959"/>
                <a:ext cx="307" cy="180"/>
              </a:xfrm>
              <a:custGeom>
                <a:avLst/>
                <a:gdLst/>
                <a:ahLst/>
                <a:cxnLst>
                  <a:cxn ang="0">
                    <a:pos x="398" y="1169"/>
                  </a:cxn>
                  <a:cxn ang="0">
                    <a:pos x="613" y="1141"/>
                  </a:cxn>
                  <a:cxn ang="0">
                    <a:pos x="732" y="1051"/>
                  </a:cxn>
                  <a:cxn ang="0">
                    <a:pos x="879" y="1076"/>
                  </a:cxn>
                  <a:cxn ang="0">
                    <a:pos x="869" y="1196"/>
                  </a:cxn>
                  <a:cxn ang="0">
                    <a:pos x="1179" y="1181"/>
                  </a:cxn>
                  <a:cxn ang="0">
                    <a:pos x="1341" y="1211"/>
                  </a:cxn>
                  <a:cxn ang="0">
                    <a:pos x="1455" y="1141"/>
                  </a:cxn>
                  <a:cxn ang="0">
                    <a:pos x="1430" y="1031"/>
                  </a:cxn>
                  <a:cxn ang="0">
                    <a:pos x="1691" y="797"/>
                  </a:cxn>
                  <a:cxn ang="0">
                    <a:pos x="1956" y="717"/>
                  </a:cxn>
                  <a:cxn ang="0">
                    <a:pos x="1956" y="448"/>
                  </a:cxn>
                  <a:cxn ang="0">
                    <a:pos x="2048" y="288"/>
                  </a:cxn>
                  <a:cxn ang="0">
                    <a:pos x="1666" y="213"/>
                  </a:cxn>
                  <a:cxn ang="0">
                    <a:pos x="1646" y="94"/>
                  </a:cxn>
                  <a:cxn ang="0">
                    <a:pos x="1595" y="0"/>
                  </a:cxn>
                  <a:cxn ang="0">
                    <a:pos x="1451" y="158"/>
                  </a:cxn>
                  <a:cxn ang="0">
                    <a:pos x="1298" y="403"/>
                  </a:cxn>
                  <a:cxn ang="0">
                    <a:pos x="1338" y="514"/>
                  </a:cxn>
                  <a:cxn ang="0">
                    <a:pos x="1040" y="642"/>
                  </a:cxn>
                  <a:cxn ang="0">
                    <a:pos x="768" y="692"/>
                  </a:cxn>
                  <a:cxn ang="0">
                    <a:pos x="483" y="672"/>
                  </a:cxn>
                  <a:cxn ang="0">
                    <a:pos x="0" y="828"/>
                  </a:cxn>
                  <a:cxn ang="0">
                    <a:pos x="101" y="927"/>
                  </a:cxn>
                  <a:cxn ang="0">
                    <a:pos x="223" y="960"/>
                  </a:cxn>
                  <a:cxn ang="0">
                    <a:pos x="328" y="1042"/>
                  </a:cxn>
                  <a:cxn ang="0">
                    <a:pos x="398" y="1169"/>
                  </a:cxn>
                </a:cxnLst>
                <a:rect l="0" t="0" r="r" b="b"/>
                <a:pathLst>
                  <a:path w="2048" h="1211">
                    <a:moveTo>
                      <a:pt x="398" y="1169"/>
                    </a:moveTo>
                    <a:lnTo>
                      <a:pt x="613" y="1141"/>
                    </a:lnTo>
                    <a:lnTo>
                      <a:pt x="732" y="1051"/>
                    </a:lnTo>
                    <a:lnTo>
                      <a:pt x="879" y="1076"/>
                    </a:lnTo>
                    <a:lnTo>
                      <a:pt x="869" y="1196"/>
                    </a:lnTo>
                    <a:lnTo>
                      <a:pt x="1179" y="1181"/>
                    </a:lnTo>
                    <a:lnTo>
                      <a:pt x="1341" y="1211"/>
                    </a:lnTo>
                    <a:lnTo>
                      <a:pt x="1455" y="1141"/>
                    </a:lnTo>
                    <a:lnTo>
                      <a:pt x="1430" y="1031"/>
                    </a:lnTo>
                    <a:lnTo>
                      <a:pt x="1691" y="797"/>
                    </a:lnTo>
                    <a:lnTo>
                      <a:pt x="1956" y="717"/>
                    </a:lnTo>
                    <a:lnTo>
                      <a:pt x="1956" y="448"/>
                    </a:lnTo>
                    <a:lnTo>
                      <a:pt x="2048" y="288"/>
                    </a:lnTo>
                    <a:lnTo>
                      <a:pt x="1666" y="213"/>
                    </a:lnTo>
                    <a:lnTo>
                      <a:pt x="1646" y="94"/>
                    </a:lnTo>
                    <a:lnTo>
                      <a:pt x="1595" y="0"/>
                    </a:lnTo>
                    <a:lnTo>
                      <a:pt x="1451" y="158"/>
                    </a:lnTo>
                    <a:lnTo>
                      <a:pt x="1298" y="403"/>
                    </a:lnTo>
                    <a:lnTo>
                      <a:pt x="1338" y="514"/>
                    </a:lnTo>
                    <a:lnTo>
                      <a:pt x="1040" y="642"/>
                    </a:lnTo>
                    <a:lnTo>
                      <a:pt x="768" y="692"/>
                    </a:lnTo>
                    <a:lnTo>
                      <a:pt x="483" y="672"/>
                    </a:lnTo>
                    <a:lnTo>
                      <a:pt x="0" y="828"/>
                    </a:lnTo>
                    <a:lnTo>
                      <a:pt x="101" y="927"/>
                    </a:lnTo>
                    <a:lnTo>
                      <a:pt x="223" y="960"/>
                    </a:lnTo>
                    <a:lnTo>
                      <a:pt x="328" y="1042"/>
                    </a:lnTo>
                    <a:lnTo>
                      <a:pt x="398" y="1169"/>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6" name="Freeform 38">
                <a:extLst>
                  <a:ext uri="{FF2B5EF4-FFF2-40B4-BE49-F238E27FC236}">
                    <a16:creationId xmlns:a16="http://schemas.microsoft.com/office/drawing/2014/main" id="{56E581D5-0670-4A67-94C1-B99176F6BFA7}"/>
                  </a:ext>
                </a:extLst>
              </p:cNvPr>
              <p:cNvSpPr>
                <a:spLocks/>
              </p:cNvSpPr>
              <p:nvPr/>
            </p:nvSpPr>
            <p:spPr bwMode="auto">
              <a:xfrm>
                <a:off x="2800" y="2723"/>
                <a:ext cx="190" cy="279"/>
              </a:xfrm>
              <a:custGeom>
                <a:avLst/>
                <a:gdLst/>
                <a:ahLst/>
                <a:cxnLst>
                  <a:cxn ang="0">
                    <a:pos x="1265" y="254"/>
                  </a:cxn>
                  <a:cxn ang="0">
                    <a:pos x="1123" y="166"/>
                  </a:cxn>
                  <a:cxn ang="0">
                    <a:pos x="1000" y="61"/>
                  </a:cxn>
                  <a:cxn ang="0">
                    <a:pos x="849" y="0"/>
                  </a:cxn>
                  <a:cxn ang="0">
                    <a:pos x="763" y="34"/>
                  </a:cxn>
                  <a:cxn ang="0">
                    <a:pos x="655" y="21"/>
                  </a:cxn>
                  <a:cxn ang="0">
                    <a:pos x="643" y="131"/>
                  </a:cxn>
                  <a:cxn ang="0">
                    <a:pos x="545" y="181"/>
                  </a:cxn>
                  <a:cxn ang="0">
                    <a:pos x="585" y="304"/>
                  </a:cxn>
                  <a:cxn ang="0">
                    <a:pos x="590" y="464"/>
                  </a:cxn>
                  <a:cxn ang="0">
                    <a:pos x="455" y="537"/>
                  </a:cxn>
                  <a:cxn ang="0">
                    <a:pos x="543" y="644"/>
                  </a:cxn>
                  <a:cxn ang="0">
                    <a:pos x="540" y="864"/>
                  </a:cxn>
                  <a:cxn ang="0">
                    <a:pos x="382" y="1064"/>
                  </a:cxn>
                  <a:cxn ang="0">
                    <a:pos x="274" y="1272"/>
                  </a:cxn>
                  <a:cxn ang="0">
                    <a:pos x="35" y="1332"/>
                  </a:cxn>
                  <a:cxn ang="0">
                    <a:pos x="0" y="1605"/>
                  </a:cxn>
                  <a:cxn ang="0">
                    <a:pos x="50" y="1700"/>
                  </a:cxn>
                  <a:cxn ang="0">
                    <a:pos x="70" y="1815"/>
                  </a:cxn>
                  <a:cxn ang="0">
                    <a:pos x="450" y="1891"/>
                  </a:cxn>
                  <a:cxn ang="0">
                    <a:pos x="598" y="1696"/>
                  </a:cxn>
                  <a:cxn ang="0">
                    <a:pos x="854" y="1527"/>
                  </a:cxn>
                  <a:cxn ang="0">
                    <a:pos x="883" y="1362"/>
                  </a:cxn>
                  <a:cxn ang="0">
                    <a:pos x="996" y="1113"/>
                  </a:cxn>
                  <a:cxn ang="0">
                    <a:pos x="1193" y="943"/>
                  </a:cxn>
                  <a:cxn ang="0">
                    <a:pos x="1203" y="554"/>
                  </a:cxn>
                  <a:cxn ang="0">
                    <a:pos x="1265" y="254"/>
                  </a:cxn>
                </a:cxnLst>
                <a:rect l="0" t="0" r="r" b="b"/>
                <a:pathLst>
                  <a:path w="1265" h="1891">
                    <a:moveTo>
                      <a:pt x="1265" y="254"/>
                    </a:moveTo>
                    <a:lnTo>
                      <a:pt x="1123" y="166"/>
                    </a:lnTo>
                    <a:lnTo>
                      <a:pt x="1000" y="61"/>
                    </a:lnTo>
                    <a:lnTo>
                      <a:pt x="849" y="0"/>
                    </a:lnTo>
                    <a:lnTo>
                      <a:pt x="763" y="34"/>
                    </a:lnTo>
                    <a:lnTo>
                      <a:pt x="655" y="21"/>
                    </a:lnTo>
                    <a:lnTo>
                      <a:pt x="643" y="131"/>
                    </a:lnTo>
                    <a:lnTo>
                      <a:pt x="545" y="181"/>
                    </a:lnTo>
                    <a:lnTo>
                      <a:pt x="585" y="304"/>
                    </a:lnTo>
                    <a:lnTo>
                      <a:pt x="590" y="464"/>
                    </a:lnTo>
                    <a:lnTo>
                      <a:pt x="455" y="537"/>
                    </a:lnTo>
                    <a:lnTo>
                      <a:pt x="543" y="644"/>
                    </a:lnTo>
                    <a:lnTo>
                      <a:pt x="540" y="864"/>
                    </a:lnTo>
                    <a:lnTo>
                      <a:pt x="382" y="1064"/>
                    </a:lnTo>
                    <a:lnTo>
                      <a:pt x="274" y="1272"/>
                    </a:lnTo>
                    <a:lnTo>
                      <a:pt x="35" y="1332"/>
                    </a:lnTo>
                    <a:lnTo>
                      <a:pt x="0" y="1605"/>
                    </a:lnTo>
                    <a:lnTo>
                      <a:pt x="50" y="1700"/>
                    </a:lnTo>
                    <a:lnTo>
                      <a:pt x="70" y="1815"/>
                    </a:lnTo>
                    <a:lnTo>
                      <a:pt x="450" y="1891"/>
                    </a:lnTo>
                    <a:lnTo>
                      <a:pt x="598" y="1696"/>
                    </a:lnTo>
                    <a:lnTo>
                      <a:pt x="854" y="1527"/>
                    </a:lnTo>
                    <a:lnTo>
                      <a:pt x="883" y="1362"/>
                    </a:lnTo>
                    <a:lnTo>
                      <a:pt x="996" y="1113"/>
                    </a:lnTo>
                    <a:lnTo>
                      <a:pt x="1193" y="943"/>
                    </a:lnTo>
                    <a:lnTo>
                      <a:pt x="1203" y="554"/>
                    </a:lnTo>
                    <a:lnTo>
                      <a:pt x="1265" y="254"/>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7" name="Freeform 39">
                <a:extLst>
                  <a:ext uri="{FF2B5EF4-FFF2-40B4-BE49-F238E27FC236}">
                    <a16:creationId xmlns:a16="http://schemas.microsoft.com/office/drawing/2014/main" id="{259AA506-85F1-457C-ADBD-FB0D92033AE9}"/>
                  </a:ext>
                </a:extLst>
              </p:cNvPr>
              <p:cNvSpPr>
                <a:spLocks/>
              </p:cNvSpPr>
              <p:nvPr/>
            </p:nvSpPr>
            <p:spPr bwMode="auto">
              <a:xfrm>
                <a:off x="2488" y="1949"/>
                <a:ext cx="726" cy="811"/>
              </a:xfrm>
              <a:custGeom>
                <a:avLst/>
                <a:gdLst/>
                <a:ahLst/>
                <a:cxnLst>
                  <a:cxn ang="0">
                    <a:pos x="148" y="1143"/>
                  </a:cxn>
                  <a:cxn ang="0">
                    <a:pos x="74" y="1616"/>
                  </a:cxn>
                  <a:cxn ang="0">
                    <a:pos x="261" y="1661"/>
                  </a:cxn>
                  <a:cxn ang="0">
                    <a:pos x="251" y="1780"/>
                  </a:cxn>
                  <a:cxn ang="0">
                    <a:pos x="54" y="1995"/>
                  </a:cxn>
                  <a:cxn ang="0">
                    <a:pos x="143" y="2304"/>
                  </a:cxn>
                  <a:cxn ang="0">
                    <a:pos x="188" y="2624"/>
                  </a:cxn>
                  <a:cxn ang="0">
                    <a:pos x="163" y="3098"/>
                  </a:cxn>
                  <a:cxn ang="0">
                    <a:pos x="253" y="3399"/>
                  </a:cxn>
                  <a:cxn ang="0">
                    <a:pos x="216" y="3657"/>
                  </a:cxn>
                  <a:cxn ang="0">
                    <a:pos x="866" y="3223"/>
                  </a:cxn>
                  <a:cxn ang="0">
                    <a:pos x="1340" y="3172"/>
                  </a:cxn>
                  <a:cxn ang="0">
                    <a:pos x="1354" y="3412"/>
                  </a:cxn>
                  <a:cxn ang="0">
                    <a:pos x="1725" y="3372"/>
                  </a:cxn>
                  <a:cxn ang="0">
                    <a:pos x="2233" y="3657"/>
                  </a:cxn>
                  <a:cxn ang="0">
                    <a:pos x="2583" y="3829"/>
                  </a:cxn>
                  <a:cxn ang="0">
                    <a:pos x="2873" y="3987"/>
                  </a:cxn>
                  <a:cxn ang="0">
                    <a:pos x="3395" y="4269"/>
                  </a:cxn>
                  <a:cxn ang="0">
                    <a:pos x="3125" y="4569"/>
                  </a:cxn>
                  <a:cxn ang="0">
                    <a:pos x="3005" y="4699"/>
                  </a:cxn>
                  <a:cxn ang="0">
                    <a:pos x="2968" y="5043"/>
                  </a:cxn>
                  <a:cxn ang="0">
                    <a:pos x="3087" y="5297"/>
                  </a:cxn>
                  <a:cxn ang="0">
                    <a:pos x="3352" y="5492"/>
                  </a:cxn>
                  <a:cxn ang="0">
                    <a:pos x="3692" y="5228"/>
                  </a:cxn>
                  <a:cxn ang="0">
                    <a:pos x="3745" y="4549"/>
                  </a:cxn>
                  <a:cxn ang="0">
                    <a:pos x="3893" y="3532"/>
                  </a:cxn>
                  <a:cxn ang="0">
                    <a:pos x="4012" y="2903"/>
                  </a:cxn>
                  <a:cxn ang="0">
                    <a:pos x="4149" y="2594"/>
                  </a:cxn>
                  <a:cxn ang="0">
                    <a:pos x="4208" y="2349"/>
                  </a:cxn>
                  <a:cxn ang="0">
                    <a:pos x="4410" y="2399"/>
                  </a:cxn>
                  <a:cxn ang="0">
                    <a:pos x="4735" y="2040"/>
                  </a:cxn>
                  <a:cxn ang="0">
                    <a:pos x="4725" y="1741"/>
                  </a:cxn>
                  <a:cxn ang="0">
                    <a:pos x="4503" y="1441"/>
                  </a:cxn>
                  <a:cxn ang="0">
                    <a:pos x="4637" y="1256"/>
                  </a:cxn>
                  <a:cxn ang="0">
                    <a:pos x="4754" y="913"/>
                  </a:cxn>
                  <a:cxn ang="0">
                    <a:pos x="4474" y="294"/>
                  </a:cxn>
                  <a:cxn ang="0">
                    <a:pos x="4218" y="225"/>
                  </a:cxn>
                  <a:cxn ang="0">
                    <a:pos x="3677" y="140"/>
                  </a:cxn>
                  <a:cxn ang="0">
                    <a:pos x="3440" y="299"/>
                  </a:cxn>
                  <a:cxn ang="0">
                    <a:pos x="3214" y="484"/>
                  </a:cxn>
                  <a:cxn ang="0">
                    <a:pos x="3110" y="284"/>
                  </a:cxn>
                  <a:cxn ang="0">
                    <a:pos x="2879" y="60"/>
                  </a:cxn>
                  <a:cxn ang="0">
                    <a:pos x="2475" y="349"/>
                  </a:cxn>
                  <a:cxn ang="0">
                    <a:pos x="2091" y="529"/>
                  </a:cxn>
                  <a:cxn ang="0">
                    <a:pos x="1826" y="469"/>
                  </a:cxn>
                  <a:cxn ang="0">
                    <a:pos x="1619" y="404"/>
                  </a:cxn>
                  <a:cxn ang="0">
                    <a:pos x="1580" y="629"/>
                  </a:cxn>
                  <a:cxn ang="0">
                    <a:pos x="1508" y="935"/>
                  </a:cxn>
                  <a:cxn ang="0">
                    <a:pos x="1168" y="1085"/>
                  </a:cxn>
                  <a:cxn ang="0">
                    <a:pos x="868" y="1258"/>
                  </a:cxn>
                  <a:cxn ang="0">
                    <a:pos x="630" y="1108"/>
                  </a:cxn>
                  <a:cxn ang="0">
                    <a:pos x="388" y="966"/>
                  </a:cxn>
                </a:cxnLst>
                <a:rect l="0" t="0" r="r" b="b"/>
                <a:pathLst>
                  <a:path w="4852" h="5492">
                    <a:moveTo>
                      <a:pt x="388" y="966"/>
                    </a:moveTo>
                    <a:lnTo>
                      <a:pt x="148" y="1143"/>
                    </a:lnTo>
                    <a:lnTo>
                      <a:pt x="0" y="1501"/>
                    </a:lnTo>
                    <a:lnTo>
                      <a:pt x="74" y="1616"/>
                    </a:lnTo>
                    <a:lnTo>
                      <a:pt x="188" y="1616"/>
                    </a:lnTo>
                    <a:lnTo>
                      <a:pt x="261" y="1661"/>
                    </a:lnTo>
                    <a:lnTo>
                      <a:pt x="158" y="1750"/>
                    </a:lnTo>
                    <a:lnTo>
                      <a:pt x="251" y="1780"/>
                    </a:lnTo>
                    <a:lnTo>
                      <a:pt x="216" y="1815"/>
                    </a:lnTo>
                    <a:lnTo>
                      <a:pt x="54" y="1995"/>
                    </a:lnTo>
                    <a:lnTo>
                      <a:pt x="163" y="2175"/>
                    </a:lnTo>
                    <a:lnTo>
                      <a:pt x="143" y="2304"/>
                    </a:lnTo>
                    <a:lnTo>
                      <a:pt x="216" y="2384"/>
                    </a:lnTo>
                    <a:lnTo>
                      <a:pt x="188" y="2624"/>
                    </a:lnTo>
                    <a:lnTo>
                      <a:pt x="99" y="2933"/>
                    </a:lnTo>
                    <a:lnTo>
                      <a:pt x="163" y="3098"/>
                    </a:lnTo>
                    <a:lnTo>
                      <a:pt x="246" y="3203"/>
                    </a:lnTo>
                    <a:lnTo>
                      <a:pt x="253" y="3399"/>
                    </a:lnTo>
                    <a:lnTo>
                      <a:pt x="189" y="3538"/>
                    </a:lnTo>
                    <a:lnTo>
                      <a:pt x="216" y="3657"/>
                    </a:lnTo>
                    <a:lnTo>
                      <a:pt x="391" y="3572"/>
                    </a:lnTo>
                    <a:lnTo>
                      <a:pt x="866" y="3223"/>
                    </a:lnTo>
                    <a:lnTo>
                      <a:pt x="1118" y="3129"/>
                    </a:lnTo>
                    <a:lnTo>
                      <a:pt x="1340" y="3172"/>
                    </a:lnTo>
                    <a:lnTo>
                      <a:pt x="1369" y="3267"/>
                    </a:lnTo>
                    <a:lnTo>
                      <a:pt x="1354" y="3412"/>
                    </a:lnTo>
                    <a:lnTo>
                      <a:pt x="1535" y="3432"/>
                    </a:lnTo>
                    <a:lnTo>
                      <a:pt x="1725" y="3372"/>
                    </a:lnTo>
                    <a:lnTo>
                      <a:pt x="1945" y="3514"/>
                    </a:lnTo>
                    <a:lnTo>
                      <a:pt x="2233" y="3657"/>
                    </a:lnTo>
                    <a:lnTo>
                      <a:pt x="2453" y="3684"/>
                    </a:lnTo>
                    <a:lnTo>
                      <a:pt x="2583" y="3829"/>
                    </a:lnTo>
                    <a:lnTo>
                      <a:pt x="2660" y="4047"/>
                    </a:lnTo>
                    <a:lnTo>
                      <a:pt x="2873" y="3987"/>
                    </a:lnTo>
                    <a:lnTo>
                      <a:pt x="3230" y="4104"/>
                    </a:lnTo>
                    <a:lnTo>
                      <a:pt x="3395" y="4269"/>
                    </a:lnTo>
                    <a:lnTo>
                      <a:pt x="3203" y="4429"/>
                    </a:lnTo>
                    <a:lnTo>
                      <a:pt x="3125" y="4569"/>
                    </a:lnTo>
                    <a:lnTo>
                      <a:pt x="3140" y="4684"/>
                    </a:lnTo>
                    <a:lnTo>
                      <a:pt x="3005" y="4699"/>
                    </a:lnTo>
                    <a:lnTo>
                      <a:pt x="2948" y="4883"/>
                    </a:lnTo>
                    <a:lnTo>
                      <a:pt x="2968" y="5043"/>
                    </a:lnTo>
                    <a:lnTo>
                      <a:pt x="3145" y="5193"/>
                    </a:lnTo>
                    <a:lnTo>
                      <a:pt x="3087" y="5297"/>
                    </a:lnTo>
                    <a:lnTo>
                      <a:pt x="3204" y="5402"/>
                    </a:lnTo>
                    <a:lnTo>
                      <a:pt x="3352" y="5492"/>
                    </a:lnTo>
                    <a:lnTo>
                      <a:pt x="3465" y="5372"/>
                    </a:lnTo>
                    <a:lnTo>
                      <a:pt x="3692" y="5228"/>
                    </a:lnTo>
                    <a:lnTo>
                      <a:pt x="3662" y="4973"/>
                    </a:lnTo>
                    <a:lnTo>
                      <a:pt x="3745" y="4549"/>
                    </a:lnTo>
                    <a:lnTo>
                      <a:pt x="3913" y="4221"/>
                    </a:lnTo>
                    <a:lnTo>
                      <a:pt x="3893" y="3532"/>
                    </a:lnTo>
                    <a:lnTo>
                      <a:pt x="3967" y="3103"/>
                    </a:lnTo>
                    <a:lnTo>
                      <a:pt x="4012" y="2903"/>
                    </a:lnTo>
                    <a:lnTo>
                      <a:pt x="3987" y="2724"/>
                    </a:lnTo>
                    <a:lnTo>
                      <a:pt x="4149" y="2594"/>
                    </a:lnTo>
                    <a:lnTo>
                      <a:pt x="4114" y="2424"/>
                    </a:lnTo>
                    <a:lnTo>
                      <a:pt x="4208" y="2349"/>
                    </a:lnTo>
                    <a:lnTo>
                      <a:pt x="4277" y="2534"/>
                    </a:lnTo>
                    <a:lnTo>
                      <a:pt x="4410" y="2399"/>
                    </a:lnTo>
                    <a:lnTo>
                      <a:pt x="4548" y="2245"/>
                    </a:lnTo>
                    <a:lnTo>
                      <a:pt x="4735" y="2040"/>
                    </a:lnTo>
                    <a:lnTo>
                      <a:pt x="4852" y="1777"/>
                    </a:lnTo>
                    <a:lnTo>
                      <a:pt x="4725" y="1741"/>
                    </a:lnTo>
                    <a:lnTo>
                      <a:pt x="4573" y="1621"/>
                    </a:lnTo>
                    <a:lnTo>
                      <a:pt x="4503" y="1441"/>
                    </a:lnTo>
                    <a:lnTo>
                      <a:pt x="4484" y="1256"/>
                    </a:lnTo>
                    <a:lnTo>
                      <a:pt x="4637" y="1256"/>
                    </a:lnTo>
                    <a:lnTo>
                      <a:pt x="4720" y="1183"/>
                    </a:lnTo>
                    <a:lnTo>
                      <a:pt x="4754" y="913"/>
                    </a:lnTo>
                    <a:lnTo>
                      <a:pt x="4637" y="749"/>
                    </a:lnTo>
                    <a:lnTo>
                      <a:pt x="4474" y="294"/>
                    </a:lnTo>
                    <a:lnTo>
                      <a:pt x="4342" y="304"/>
                    </a:lnTo>
                    <a:lnTo>
                      <a:pt x="4218" y="225"/>
                    </a:lnTo>
                    <a:lnTo>
                      <a:pt x="3893" y="0"/>
                    </a:lnTo>
                    <a:lnTo>
                      <a:pt x="3677" y="140"/>
                    </a:lnTo>
                    <a:lnTo>
                      <a:pt x="3618" y="274"/>
                    </a:lnTo>
                    <a:lnTo>
                      <a:pt x="3440" y="299"/>
                    </a:lnTo>
                    <a:lnTo>
                      <a:pt x="3382" y="434"/>
                    </a:lnTo>
                    <a:lnTo>
                      <a:pt x="3214" y="484"/>
                    </a:lnTo>
                    <a:lnTo>
                      <a:pt x="3204" y="379"/>
                    </a:lnTo>
                    <a:lnTo>
                      <a:pt x="3110" y="284"/>
                    </a:lnTo>
                    <a:lnTo>
                      <a:pt x="3110" y="150"/>
                    </a:lnTo>
                    <a:lnTo>
                      <a:pt x="2879" y="60"/>
                    </a:lnTo>
                    <a:lnTo>
                      <a:pt x="2609" y="359"/>
                    </a:lnTo>
                    <a:lnTo>
                      <a:pt x="2475" y="349"/>
                    </a:lnTo>
                    <a:lnTo>
                      <a:pt x="2304" y="394"/>
                    </a:lnTo>
                    <a:lnTo>
                      <a:pt x="2091" y="529"/>
                    </a:lnTo>
                    <a:lnTo>
                      <a:pt x="1929" y="424"/>
                    </a:lnTo>
                    <a:lnTo>
                      <a:pt x="1826" y="469"/>
                    </a:lnTo>
                    <a:lnTo>
                      <a:pt x="1723" y="404"/>
                    </a:lnTo>
                    <a:lnTo>
                      <a:pt x="1619" y="404"/>
                    </a:lnTo>
                    <a:lnTo>
                      <a:pt x="1501" y="469"/>
                    </a:lnTo>
                    <a:lnTo>
                      <a:pt x="1580" y="629"/>
                    </a:lnTo>
                    <a:lnTo>
                      <a:pt x="1580" y="808"/>
                    </a:lnTo>
                    <a:lnTo>
                      <a:pt x="1508" y="935"/>
                    </a:lnTo>
                    <a:lnTo>
                      <a:pt x="1329" y="1138"/>
                    </a:lnTo>
                    <a:lnTo>
                      <a:pt x="1168" y="1085"/>
                    </a:lnTo>
                    <a:lnTo>
                      <a:pt x="1040" y="1184"/>
                    </a:lnTo>
                    <a:lnTo>
                      <a:pt x="868" y="1258"/>
                    </a:lnTo>
                    <a:lnTo>
                      <a:pt x="718" y="1214"/>
                    </a:lnTo>
                    <a:lnTo>
                      <a:pt x="630" y="1108"/>
                    </a:lnTo>
                    <a:lnTo>
                      <a:pt x="571" y="948"/>
                    </a:lnTo>
                    <a:lnTo>
                      <a:pt x="388" y="96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8" name="Freeform 40">
                <a:extLst>
                  <a:ext uri="{FF2B5EF4-FFF2-40B4-BE49-F238E27FC236}">
                    <a16:creationId xmlns:a16="http://schemas.microsoft.com/office/drawing/2014/main" id="{61DD4CE4-EED0-4562-9C71-6335BBE1114F}"/>
                  </a:ext>
                </a:extLst>
              </p:cNvPr>
              <p:cNvSpPr>
                <a:spLocks/>
              </p:cNvSpPr>
              <p:nvPr/>
            </p:nvSpPr>
            <p:spPr bwMode="auto">
              <a:xfrm>
                <a:off x="2154" y="1659"/>
                <a:ext cx="392" cy="667"/>
              </a:xfrm>
              <a:custGeom>
                <a:avLst/>
                <a:gdLst/>
                <a:ahLst/>
                <a:cxnLst>
                  <a:cxn ang="0">
                    <a:pos x="1487" y="65"/>
                  </a:cxn>
                  <a:cxn ang="0">
                    <a:pos x="1723" y="110"/>
                  </a:cxn>
                  <a:cxn ang="0">
                    <a:pos x="1862" y="369"/>
                  </a:cxn>
                  <a:cxn ang="0">
                    <a:pos x="1935" y="664"/>
                  </a:cxn>
                  <a:cxn ang="0">
                    <a:pos x="1817" y="1023"/>
                  </a:cxn>
                  <a:cxn ang="0">
                    <a:pos x="1832" y="1208"/>
                  </a:cxn>
                  <a:cxn ang="0">
                    <a:pos x="1979" y="1477"/>
                  </a:cxn>
                  <a:cxn ang="0">
                    <a:pos x="2363" y="1567"/>
                  </a:cxn>
                  <a:cxn ang="0">
                    <a:pos x="2344" y="1805"/>
                  </a:cxn>
                  <a:cxn ang="0">
                    <a:pos x="2137" y="1906"/>
                  </a:cxn>
                  <a:cxn ang="0">
                    <a:pos x="2009" y="2146"/>
                  </a:cxn>
                  <a:cxn ang="0">
                    <a:pos x="2172" y="2429"/>
                  </a:cxn>
                  <a:cxn ang="0">
                    <a:pos x="2245" y="2579"/>
                  </a:cxn>
                  <a:cxn ang="0">
                    <a:pos x="2373" y="2803"/>
                  </a:cxn>
                  <a:cxn ang="0">
                    <a:pos x="2557" y="2876"/>
                  </a:cxn>
                  <a:cxn ang="0">
                    <a:pos x="2377" y="3108"/>
                  </a:cxn>
                  <a:cxn ang="0">
                    <a:pos x="2304" y="3582"/>
                  </a:cxn>
                  <a:cxn ang="0">
                    <a:pos x="2490" y="3626"/>
                  </a:cxn>
                  <a:cxn ang="0">
                    <a:pos x="2479" y="3746"/>
                  </a:cxn>
                  <a:cxn ang="0">
                    <a:pos x="2392" y="4140"/>
                  </a:cxn>
                  <a:cxn ang="0">
                    <a:pos x="2213" y="4274"/>
                  </a:cxn>
                  <a:cxn ang="0">
                    <a:pos x="1625" y="4515"/>
                  </a:cxn>
                  <a:cxn ang="0">
                    <a:pos x="1354" y="4390"/>
                  </a:cxn>
                  <a:cxn ang="0">
                    <a:pos x="1019" y="4480"/>
                  </a:cxn>
                  <a:cxn ang="0">
                    <a:pos x="960" y="4211"/>
                  </a:cxn>
                  <a:cxn ang="0">
                    <a:pos x="778" y="4261"/>
                  </a:cxn>
                  <a:cxn ang="0">
                    <a:pos x="623" y="4462"/>
                  </a:cxn>
                  <a:cxn ang="0">
                    <a:pos x="221" y="4285"/>
                  </a:cxn>
                  <a:cxn ang="0">
                    <a:pos x="136" y="4126"/>
                  </a:cxn>
                  <a:cxn ang="0">
                    <a:pos x="0" y="4182"/>
                  </a:cxn>
                  <a:cxn ang="0">
                    <a:pos x="10" y="3467"/>
                  </a:cxn>
                  <a:cxn ang="0">
                    <a:pos x="325" y="2599"/>
                  </a:cxn>
                  <a:cxn ang="0">
                    <a:pos x="561" y="2116"/>
                  </a:cxn>
                  <a:cxn ang="0">
                    <a:pos x="925" y="1562"/>
                  </a:cxn>
                  <a:cxn ang="0">
                    <a:pos x="881" y="1148"/>
                  </a:cxn>
                  <a:cxn ang="0">
                    <a:pos x="1118" y="873"/>
                  </a:cxn>
                  <a:cxn ang="0">
                    <a:pos x="1413" y="339"/>
                  </a:cxn>
                  <a:cxn ang="0">
                    <a:pos x="1384" y="145"/>
                  </a:cxn>
                  <a:cxn ang="0">
                    <a:pos x="1344" y="0"/>
                  </a:cxn>
                </a:cxnLst>
                <a:rect l="0" t="0" r="r" b="b"/>
                <a:pathLst>
                  <a:path w="2618" h="4515">
                    <a:moveTo>
                      <a:pt x="1344" y="0"/>
                    </a:moveTo>
                    <a:lnTo>
                      <a:pt x="1487" y="65"/>
                    </a:lnTo>
                    <a:lnTo>
                      <a:pt x="1595" y="35"/>
                    </a:lnTo>
                    <a:lnTo>
                      <a:pt x="1723" y="110"/>
                    </a:lnTo>
                    <a:lnTo>
                      <a:pt x="1870" y="185"/>
                    </a:lnTo>
                    <a:lnTo>
                      <a:pt x="1862" y="369"/>
                    </a:lnTo>
                    <a:lnTo>
                      <a:pt x="1890" y="549"/>
                    </a:lnTo>
                    <a:lnTo>
                      <a:pt x="1935" y="664"/>
                    </a:lnTo>
                    <a:lnTo>
                      <a:pt x="1847" y="788"/>
                    </a:lnTo>
                    <a:lnTo>
                      <a:pt x="1817" y="1023"/>
                    </a:lnTo>
                    <a:lnTo>
                      <a:pt x="1713" y="1163"/>
                    </a:lnTo>
                    <a:lnTo>
                      <a:pt x="1832" y="1208"/>
                    </a:lnTo>
                    <a:lnTo>
                      <a:pt x="1847" y="1337"/>
                    </a:lnTo>
                    <a:lnTo>
                      <a:pt x="1979" y="1477"/>
                    </a:lnTo>
                    <a:lnTo>
                      <a:pt x="2127" y="1592"/>
                    </a:lnTo>
                    <a:lnTo>
                      <a:pt x="2363" y="1567"/>
                    </a:lnTo>
                    <a:lnTo>
                      <a:pt x="2378" y="1682"/>
                    </a:lnTo>
                    <a:lnTo>
                      <a:pt x="2344" y="1805"/>
                    </a:lnTo>
                    <a:lnTo>
                      <a:pt x="2200" y="1816"/>
                    </a:lnTo>
                    <a:lnTo>
                      <a:pt x="2137" y="1906"/>
                    </a:lnTo>
                    <a:lnTo>
                      <a:pt x="2122" y="2076"/>
                    </a:lnTo>
                    <a:lnTo>
                      <a:pt x="2009" y="2146"/>
                    </a:lnTo>
                    <a:lnTo>
                      <a:pt x="2137" y="2279"/>
                    </a:lnTo>
                    <a:lnTo>
                      <a:pt x="2172" y="2429"/>
                    </a:lnTo>
                    <a:lnTo>
                      <a:pt x="2314" y="2464"/>
                    </a:lnTo>
                    <a:lnTo>
                      <a:pt x="2245" y="2579"/>
                    </a:lnTo>
                    <a:lnTo>
                      <a:pt x="2314" y="2674"/>
                    </a:lnTo>
                    <a:lnTo>
                      <a:pt x="2373" y="2803"/>
                    </a:lnTo>
                    <a:lnTo>
                      <a:pt x="2497" y="2823"/>
                    </a:lnTo>
                    <a:lnTo>
                      <a:pt x="2557" y="2876"/>
                    </a:lnTo>
                    <a:lnTo>
                      <a:pt x="2618" y="2931"/>
                    </a:lnTo>
                    <a:lnTo>
                      <a:pt x="2377" y="3108"/>
                    </a:lnTo>
                    <a:lnTo>
                      <a:pt x="2230" y="3464"/>
                    </a:lnTo>
                    <a:lnTo>
                      <a:pt x="2304" y="3582"/>
                    </a:lnTo>
                    <a:lnTo>
                      <a:pt x="2418" y="3582"/>
                    </a:lnTo>
                    <a:lnTo>
                      <a:pt x="2490" y="3626"/>
                    </a:lnTo>
                    <a:lnTo>
                      <a:pt x="2388" y="3716"/>
                    </a:lnTo>
                    <a:lnTo>
                      <a:pt x="2479" y="3746"/>
                    </a:lnTo>
                    <a:lnTo>
                      <a:pt x="2283" y="3960"/>
                    </a:lnTo>
                    <a:lnTo>
                      <a:pt x="2392" y="4140"/>
                    </a:lnTo>
                    <a:lnTo>
                      <a:pt x="2374" y="4271"/>
                    </a:lnTo>
                    <a:lnTo>
                      <a:pt x="2213" y="4274"/>
                    </a:lnTo>
                    <a:lnTo>
                      <a:pt x="2002" y="4410"/>
                    </a:lnTo>
                    <a:lnTo>
                      <a:pt x="1625" y="4515"/>
                    </a:lnTo>
                    <a:lnTo>
                      <a:pt x="1384" y="4515"/>
                    </a:lnTo>
                    <a:lnTo>
                      <a:pt x="1354" y="4390"/>
                    </a:lnTo>
                    <a:lnTo>
                      <a:pt x="1133" y="4390"/>
                    </a:lnTo>
                    <a:lnTo>
                      <a:pt x="1019" y="4480"/>
                    </a:lnTo>
                    <a:lnTo>
                      <a:pt x="969" y="4393"/>
                    </a:lnTo>
                    <a:lnTo>
                      <a:pt x="960" y="4211"/>
                    </a:lnTo>
                    <a:lnTo>
                      <a:pt x="897" y="4109"/>
                    </a:lnTo>
                    <a:lnTo>
                      <a:pt x="778" y="4261"/>
                    </a:lnTo>
                    <a:lnTo>
                      <a:pt x="763" y="4410"/>
                    </a:lnTo>
                    <a:lnTo>
                      <a:pt x="623" y="4462"/>
                    </a:lnTo>
                    <a:lnTo>
                      <a:pt x="540" y="4363"/>
                    </a:lnTo>
                    <a:lnTo>
                      <a:pt x="221" y="4285"/>
                    </a:lnTo>
                    <a:lnTo>
                      <a:pt x="202" y="4178"/>
                    </a:lnTo>
                    <a:lnTo>
                      <a:pt x="136" y="4126"/>
                    </a:lnTo>
                    <a:lnTo>
                      <a:pt x="118" y="4290"/>
                    </a:lnTo>
                    <a:lnTo>
                      <a:pt x="0" y="4182"/>
                    </a:lnTo>
                    <a:lnTo>
                      <a:pt x="54" y="4000"/>
                    </a:lnTo>
                    <a:lnTo>
                      <a:pt x="10" y="3467"/>
                    </a:lnTo>
                    <a:lnTo>
                      <a:pt x="188" y="2848"/>
                    </a:lnTo>
                    <a:lnTo>
                      <a:pt x="325" y="2599"/>
                    </a:lnTo>
                    <a:lnTo>
                      <a:pt x="409" y="2309"/>
                    </a:lnTo>
                    <a:lnTo>
                      <a:pt x="561" y="2116"/>
                    </a:lnTo>
                    <a:lnTo>
                      <a:pt x="704" y="2011"/>
                    </a:lnTo>
                    <a:lnTo>
                      <a:pt x="925" y="1562"/>
                    </a:lnTo>
                    <a:lnTo>
                      <a:pt x="813" y="1352"/>
                    </a:lnTo>
                    <a:lnTo>
                      <a:pt x="881" y="1148"/>
                    </a:lnTo>
                    <a:lnTo>
                      <a:pt x="886" y="968"/>
                    </a:lnTo>
                    <a:lnTo>
                      <a:pt x="1118" y="873"/>
                    </a:lnTo>
                    <a:lnTo>
                      <a:pt x="1428" y="474"/>
                    </a:lnTo>
                    <a:lnTo>
                      <a:pt x="1413" y="339"/>
                    </a:lnTo>
                    <a:lnTo>
                      <a:pt x="1487" y="259"/>
                    </a:lnTo>
                    <a:lnTo>
                      <a:pt x="1384" y="145"/>
                    </a:lnTo>
                    <a:lnTo>
                      <a:pt x="1166" y="110"/>
                    </a:lnTo>
                    <a:lnTo>
                      <a:pt x="1344"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9" name="Freeform 41">
                <a:extLst>
                  <a:ext uri="{FF2B5EF4-FFF2-40B4-BE49-F238E27FC236}">
                    <a16:creationId xmlns:a16="http://schemas.microsoft.com/office/drawing/2014/main" id="{C27C9A5A-29A5-4E93-9A46-41C9C8267B86}"/>
                  </a:ext>
                </a:extLst>
              </p:cNvPr>
              <p:cNvSpPr>
                <a:spLocks/>
              </p:cNvSpPr>
              <p:nvPr/>
            </p:nvSpPr>
            <p:spPr bwMode="auto">
              <a:xfrm>
                <a:off x="2355" y="1327"/>
                <a:ext cx="544" cy="756"/>
              </a:xfrm>
              <a:custGeom>
                <a:avLst/>
                <a:gdLst/>
                <a:ahLst/>
                <a:cxnLst>
                  <a:cxn ang="0">
                    <a:pos x="1491" y="74"/>
                  </a:cxn>
                  <a:cxn ang="0">
                    <a:pos x="1737" y="313"/>
                  </a:cxn>
                  <a:cxn ang="0">
                    <a:pos x="2062" y="328"/>
                  </a:cxn>
                  <a:cxn ang="0">
                    <a:pos x="2106" y="613"/>
                  </a:cxn>
                  <a:cxn ang="0">
                    <a:pos x="2314" y="713"/>
                  </a:cxn>
                  <a:cxn ang="0">
                    <a:pos x="2299" y="936"/>
                  </a:cxn>
                  <a:cxn ang="0">
                    <a:pos x="2525" y="836"/>
                  </a:cxn>
                  <a:cxn ang="0">
                    <a:pos x="2875" y="718"/>
                  </a:cxn>
                  <a:cxn ang="0">
                    <a:pos x="3480" y="926"/>
                  </a:cxn>
                  <a:cxn ang="0">
                    <a:pos x="3617" y="1075"/>
                  </a:cxn>
                  <a:cxn ang="0">
                    <a:pos x="3214" y="1315"/>
                  </a:cxn>
                  <a:cxn ang="0">
                    <a:pos x="2939" y="1792"/>
                  </a:cxn>
                  <a:cxn ang="0">
                    <a:pos x="2964" y="2109"/>
                  </a:cxn>
                  <a:cxn ang="0">
                    <a:pos x="2924" y="2470"/>
                  </a:cxn>
                  <a:cxn ang="0">
                    <a:pos x="2905" y="2806"/>
                  </a:cxn>
                  <a:cxn ang="0">
                    <a:pos x="2991" y="3092"/>
                  </a:cxn>
                  <a:cxn ang="0">
                    <a:pos x="2526" y="3109"/>
                  </a:cxn>
                  <a:cxn ang="0">
                    <a:pos x="2185" y="3333"/>
                  </a:cxn>
                  <a:cxn ang="0">
                    <a:pos x="1726" y="3553"/>
                  </a:cxn>
                  <a:cxn ang="0">
                    <a:pos x="1532" y="3739"/>
                  </a:cxn>
                  <a:cxn ang="0">
                    <a:pos x="1294" y="4271"/>
                  </a:cxn>
                  <a:cxn ang="0">
                    <a:pos x="1339" y="4883"/>
                  </a:cxn>
                  <a:cxn ang="0">
                    <a:pos x="1156" y="5069"/>
                  </a:cxn>
                  <a:cxn ang="0">
                    <a:pos x="969" y="4918"/>
                  </a:cxn>
                  <a:cxn ang="0">
                    <a:pos x="969" y="4707"/>
                  </a:cxn>
                  <a:cxn ang="0">
                    <a:pos x="793" y="4522"/>
                  </a:cxn>
                  <a:cxn ang="0">
                    <a:pos x="777" y="4317"/>
                  </a:cxn>
                  <a:cxn ang="0">
                    <a:pos x="857" y="4061"/>
                  </a:cxn>
                  <a:cxn ang="0">
                    <a:pos x="1033" y="3927"/>
                  </a:cxn>
                  <a:cxn ang="0">
                    <a:pos x="784" y="3836"/>
                  </a:cxn>
                  <a:cxn ang="0">
                    <a:pos x="503" y="3583"/>
                  </a:cxn>
                  <a:cxn ang="0">
                    <a:pos x="369" y="3407"/>
                  </a:cxn>
                  <a:cxn ang="0">
                    <a:pos x="501" y="3034"/>
                  </a:cxn>
                  <a:cxn ang="0">
                    <a:pos x="544" y="2792"/>
                  </a:cxn>
                  <a:cxn ang="0">
                    <a:pos x="525" y="2431"/>
                  </a:cxn>
                  <a:cxn ang="0">
                    <a:pos x="250" y="2283"/>
                  </a:cxn>
                  <a:cxn ang="0">
                    <a:pos x="0" y="2248"/>
                  </a:cxn>
                  <a:cxn ang="0">
                    <a:pos x="575" y="1759"/>
                  </a:cxn>
                  <a:cxn ang="0">
                    <a:pos x="955" y="1161"/>
                  </a:cxn>
                  <a:cxn ang="0">
                    <a:pos x="1295" y="0"/>
                  </a:cxn>
                </a:cxnLst>
                <a:rect l="0" t="0" r="r" b="b"/>
                <a:pathLst>
                  <a:path w="3633" h="5119">
                    <a:moveTo>
                      <a:pt x="1295" y="0"/>
                    </a:moveTo>
                    <a:lnTo>
                      <a:pt x="1491" y="74"/>
                    </a:lnTo>
                    <a:lnTo>
                      <a:pt x="1683" y="194"/>
                    </a:lnTo>
                    <a:lnTo>
                      <a:pt x="1737" y="313"/>
                    </a:lnTo>
                    <a:lnTo>
                      <a:pt x="1860" y="209"/>
                    </a:lnTo>
                    <a:lnTo>
                      <a:pt x="2062" y="328"/>
                    </a:lnTo>
                    <a:lnTo>
                      <a:pt x="2195" y="503"/>
                    </a:lnTo>
                    <a:lnTo>
                      <a:pt x="2106" y="613"/>
                    </a:lnTo>
                    <a:lnTo>
                      <a:pt x="2225" y="608"/>
                    </a:lnTo>
                    <a:lnTo>
                      <a:pt x="2314" y="713"/>
                    </a:lnTo>
                    <a:lnTo>
                      <a:pt x="2431" y="776"/>
                    </a:lnTo>
                    <a:lnTo>
                      <a:pt x="2299" y="936"/>
                    </a:lnTo>
                    <a:lnTo>
                      <a:pt x="2377" y="956"/>
                    </a:lnTo>
                    <a:lnTo>
                      <a:pt x="2525" y="836"/>
                    </a:lnTo>
                    <a:lnTo>
                      <a:pt x="2756" y="763"/>
                    </a:lnTo>
                    <a:lnTo>
                      <a:pt x="2875" y="718"/>
                    </a:lnTo>
                    <a:lnTo>
                      <a:pt x="3318" y="926"/>
                    </a:lnTo>
                    <a:lnTo>
                      <a:pt x="3480" y="926"/>
                    </a:lnTo>
                    <a:lnTo>
                      <a:pt x="3633" y="926"/>
                    </a:lnTo>
                    <a:lnTo>
                      <a:pt x="3617" y="1075"/>
                    </a:lnTo>
                    <a:lnTo>
                      <a:pt x="3382" y="1285"/>
                    </a:lnTo>
                    <a:lnTo>
                      <a:pt x="3214" y="1315"/>
                    </a:lnTo>
                    <a:lnTo>
                      <a:pt x="3129" y="1513"/>
                    </a:lnTo>
                    <a:lnTo>
                      <a:pt x="2939" y="1792"/>
                    </a:lnTo>
                    <a:lnTo>
                      <a:pt x="3013" y="1899"/>
                    </a:lnTo>
                    <a:lnTo>
                      <a:pt x="2964" y="2109"/>
                    </a:lnTo>
                    <a:lnTo>
                      <a:pt x="3051" y="2256"/>
                    </a:lnTo>
                    <a:lnTo>
                      <a:pt x="2924" y="2470"/>
                    </a:lnTo>
                    <a:lnTo>
                      <a:pt x="2878" y="2641"/>
                    </a:lnTo>
                    <a:lnTo>
                      <a:pt x="2905" y="2806"/>
                    </a:lnTo>
                    <a:lnTo>
                      <a:pt x="3009" y="2912"/>
                    </a:lnTo>
                    <a:lnTo>
                      <a:pt x="2991" y="3092"/>
                    </a:lnTo>
                    <a:lnTo>
                      <a:pt x="2658" y="3184"/>
                    </a:lnTo>
                    <a:lnTo>
                      <a:pt x="2526" y="3109"/>
                    </a:lnTo>
                    <a:lnTo>
                      <a:pt x="2352" y="3152"/>
                    </a:lnTo>
                    <a:lnTo>
                      <a:pt x="2185" y="3333"/>
                    </a:lnTo>
                    <a:lnTo>
                      <a:pt x="1877" y="3544"/>
                    </a:lnTo>
                    <a:lnTo>
                      <a:pt x="1726" y="3553"/>
                    </a:lnTo>
                    <a:lnTo>
                      <a:pt x="1592" y="3624"/>
                    </a:lnTo>
                    <a:lnTo>
                      <a:pt x="1532" y="3739"/>
                    </a:lnTo>
                    <a:lnTo>
                      <a:pt x="1464" y="3967"/>
                    </a:lnTo>
                    <a:lnTo>
                      <a:pt x="1294" y="4271"/>
                    </a:lnTo>
                    <a:lnTo>
                      <a:pt x="1328" y="4564"/>
                    </a:lnTo>
                    <a:lnTo>
                      <a:pt x="1339" y="4883"/>
                    </a:lnTo>
                    <a:lnTo>
                      <a:pt x="1208" y="5119"/>
                    </a:lnTo>
                    <a:lnTo>
                      <a:pt x="1156" y="5069"/>
                    </a:lnTo>
                    <a:lnTo>
                      <a:pt x="1028" y="5047"/>
                    </a:lnTo>
                    <a:lnTo>
                      <a:pt x="969" y="4918"/>
                    </a:lnTo>
                    <a:lnTo>
                      <a:pt x="900" y="4824"/>
                    </a:lnTo>
                    <a:lnTo>
                      <a:pt x="969" y="4707"/>
                    </a:lnTo>
                    <a:lnTo>
                      <a:pt x="825" y="4672"/>
                    </a:lnTo>
                    <a:lnTo>
                      <a:pt x="793" y="4522"/>
                    </a:lnTo>
                    <a:lnTo>
                      <a:pt x="665" y="4391"/>
                    </a:lnTo>
                    <a:lnTo>
                      <a:pt x="777" y="4317"/>
                    </a:lnTo>
                    <a:lnTo>
                      <a:pt x="792" y="4146"/>
                    </a:lnTo>
                    <a:lnTo>
                      <a:pt x="857" y="4061"/>
                    </a:lnTo>
                    <a:lnTo>
                      <a:pt x="1002" y="4050"/>
                    </a:lnTo>
                    <a:lnTo>
                      <a:pt x="1033" y="3927"/>
                    </a:lnTo>
                    <a:lnTo>
                      <a:pt x="1020" y="3811"/>
                    </a:lnTo>
                    <a:lnTo>
                      <a:pt x="784" y="3836"/>
                    </a:lnTo>
                    <a:lnTo>
                      <a:pt x="647" y="3731"/>
                    </a:lnTo>
                    <a:lnTo>
                      <a:pt x="503" y="3583"/>
                    </a:lnTo>
                    <a:lnTo>
                      <a:pt x="485" y="3454"/>
                    </a:lnTo>
                    <a:lnTo>
                      <a:pt x="369" y="3407"/>
                    </a:lnTo>
                    <a:lnTo>
                      <a:pt x="473" y="3268"/>
                    </a:lnTo>
                    <a:lnTo>
                      <a:pt x="501" y="3034"/>
                    </a:lnTo>
                    <a:lnTo>
                      <a:pt x="590" y="2911"/>
                    </a:lnTo>
                    <a:lnTo>
                      <a:pt x="544" y="2792"/>
                    </a:lnTo>
                    <a:lnTo>
                      <a:pt x="515" y="2611"/>
                    </a:lnTo>
                    <a:lnTo>
                      <a:pt x="525" y="2431"/>
                    </a:lnTo>
                    <a:lnTo>
                      <a:pt x="378" y="2356"/>
                    </a:lnTo>
                    <a:lnTo>
                      <a:pt x="250" y="2283"/>
                    </a:lnTo>
                    <a:lnTo>
                      <a:pt x="143" y="2310"/>
                    </a:lnTo>
                    <a:lnTo>
                      <a:pt x="0" y="2248"/>
                    </a:lnTo>
                    <a:lnTo>
                      <a:pt x="378" y="1913"/>
                    </a:lnTo>
                    <a:lnTo>
                      <a:pt x="575" y="1759"/>
                    </a:lnTo>
                    <a:lnTo>
                      <a:pt x="807" y="1325"/>
                    </a:lnTo>
                    <a:lnTo>
                      <a:pt x="955" y="1161"/>
                    </a:lnTo>
                    <a:lnTo>
                      <a:pt x="1195" y="517"/>
                    </a:lnTo>
                    <a:lnTo>
                      <a:pt x="1295"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0" name="Freeform 42">
                <a:extLst>
                  <a:ext uri="{FF2B5EF4-FFF2-40B4-BE49-F238E27FC236}">
                    <a16:creationId xmlns:a16="http://schemas.microsoft.com/office/drawing/2014/main" id="{AA46EB47-6BF2-47DA-8619-F70C48E2E9F8}"/>
                  </a:ext>
                </a:extLst>
              </p:cNvPr>
              <p:cNvSpPr>
                <a:spLocks/>
              </p:cNvSpPr>
              <p:nvPr/>
            </p:nvSpPr>
            <p:spPr bwMode="auto">
              <a:xfrm>
                <a:off x="2536" y="1463"/>
                <a:ext cx="464" cy="672"/>
              </a:xfrm>
              <a:custGeom>
                <a:avLst/>
                <a:gdLst/>
                <a:ahLst/>
                <a:cxnLst>
                  <a:cxn ang="0">
                    <a:pos x="2005" y="20"/>
                  </a:cxn>
                  <a:cxn ang="0">
                    <a:pos x="2163" y="95"/>
                  </a:cxn>
                  <a:cxn ang="0">
                    <a:pos x="2116" y="439"/>
                  </a:cxn>
                  <a:cxn ang="0">
                    <a:pos x="2246" y="694"/>
                  </a:cxn>
                  <a:cxn ang="0">
                    <a:pos x="2269" y="1289"/>
                  </a:cxn>
                  <a:cxn ang="0">
                    <a:pos x="2477" y="1839"/>
                  </a:cxn>
                  <a:cxn ang="0">
                    <a:pos x="2375" y="2090"/>
                  </a:cxn>
                  <a:cxn ang="0">
                    <a:pos x="2393" y="2402"/>
                  </a:cxn>
                  <a:cxn ang="0">
                    <a:pos x="2196" y="2537"/>
                  </a:cxn>
                  <a:cxn ang="0">
                    <a:pos x="1828" y="2921"/>
                  </a:cxn>
                  <a:cxn ang="0">
                    <a:pos x="1584" y="2945"/>
                  </a:cxn>
                  <a:cxn ang="0">
                    <a:pos x="1281" y="2970"/>
                  </a:cxn>
                  <a:cxn ang="0">
                    <a:pos x="1119" y="2953"/>
                  </a:cxn>
                  <a:cxn ang="0">
                    <a:pos x="939" y="3006"/>
                  </a:cxn>
                  <a:cxn ang="0">
                    <a:pos x="1001" y="3276"/>
                  </a:cxn>
                  <a:cxn ang="0">
                    <a:pos x="804" y="3539"/>
                  </a:cxn>
                  <a:cxn ang="0">
                    <a:pos x="576" y="3575"/>
                  </a:cxn>
                  <a:cxn ang="0">
                    <a:pos x="316" y="3599"/>
                  </a:cxn>
                  <a:cxn ang="0">
                    <a:pos x="197" y="3389"/>
                  </a:cxn>
                  <a:cxn ang="0">
                    <a:pos x="0" y="3356"/>
                  </a:cxn>
                  <a:cxn ang="0">
                    <a:pos x="96" y="2921"/>
                  </a:cxn>
                  <a:cxn ang="0">
                    <a:pos x="202" y="2438"/>
                  </a:cxn>
                  <a:cxn ang="0">
                    <a:pos x="304" y="2163"/>
                  </a:cxn>
                  <a:cxn ang="0">
                    <a:pos x="533" y="2095"/>
                  </a:cxn>
                  <a:cxn ang="0">
                    <a:pos x="911" y="1784"/>
                  </a:cxn>
                  <a:cxn ang="0">
                    <a:pos x="1159" y="1808"/>
                  </a:cxn>
                  <a:cxn ang="0">
                    <a:pos x="1438" y="1588"/>
                  </a:cxn>
                  <a:cxn ang="0">
                    <a:pos x="1336" y="1373"/>
                  </a:cxn>
                  <a:cxn ang="0">
                    <a:pos x="1474" y="1065"/>
                  </a:cxn>
                  <a:cxn ang="0">
                    <a:pos x="1442" y="778"/>
                  </a:cxn>
                  <a:cxn ang="0">
                    <a:pos x="1537" y="467"/>
                  </a:cxn>
                  <a:cxn ang="0">
                    <a:pos x="1738" y="287"/>
                  </a:cxn>
                  <a:cxn ang="0">
                    <a:pos x="1938" y="0"/>
                  </a:cxn>
                </a:cxnLst>
                <a:rect l="0" t="0" r="r" b="b"/>
                <a:pathLst>
                  <a:path w="2477" h="3635">
                    <a:moveTo>
                      <a:pt x="1938" y="0"/>
                    </a:moveTo>
                    <a:lnTo>
                      <a:pt x="2005" y="20"/>
                    </a:lnTo>
                    <a:lnTo>
                      <a:pt x="2076" y="84"/>
                    </a:lnTo>
                    <a:lnTo>
                      <a:pt x="2163" y="95"/>
                    </a:lnTo>
                    <a:lnTo>
                      <a:pt x="2087" y="287"/>
                    </a:lnTo>
                    <a:lnTo>
                      <a:pt x="2116" y="439"/>
                    </a:lnTo>
                    <a:lnTo>
                      <a:pt x="2174" y="588"/>
                    </a:lnTo>
                    <a:lnTo>
                      <a:pt x="2246" y="694"/>
                    </a:lnTo>
                    <a:lnTo>
                      <a:pt x="2171" y="810"/>
                    </a:lnTo>
                    <a:lnTo>
                      <a:pt x="2269" y="1289"/>
                    </a:lnTo>
                    <a:lnTo>
                      <a:pt x="2325" y="1653"/>
                    </a:lnTo>
                    <a:lnTo>
                      <a:pt x="2477" y="1839"/>
                    </a:lnTo>
                    <a:lnTo>
                      <a:pt x="2400" y="1950"/>
                    </a:lnTo>
                    <a:lnTo>
                      <a:pt x="2375" y="2090"/>
                    </a:lnTo>
                    <a:lnTo>
                      <a:pt x="2340" y="2234"/>
                    </a:lnTo>
                    <a:lnTo>
                      <a:pt x="2393" y="2402"/>
                    </a:lnTo>
                    <a:lnTo>
                      <a:pt x="2324" y="2478"/>
                    </a:lnTo>
                    <a:lnTo>
                      <a:pt x="2196" y="2537"/>
                    </a:lnTo>
                    <a:lnTo>
                      <a:pt x="2041" y="2681"/>
                    </a:lnTo>
                    <a:lnTo>
                      <a:pt x="1828" y="2921"/>
                    </a:lnTo>
                    <a:lnTo>
                      <a:pt x="1734" y="2909"/>
                    </a:lnTo>
                    <a:lnTo>
                      <a:pt x="1584" y="2945"/>
                    </a:lnTo>
                    <a:lnTo>
                      <a:pt x="1413" y="3048"/>
                    </a:lnTo>
                    <a:lnTo>
                      <a:pt x="1281" y="2970"/>
                    </a:lnTo>
                    <a:lnTo>
                      <a:pt x="1194" y="3003"/>
                    </a:lnTo>
                    <a:lnTo>
                      <a:pt x="1119" y="2953"/>
                    </a:lnTo>
                    <a:lnTo>
                      <a:pt x="1029" y="2952"/>
                    </a:lnTo>
                    <a:lnTo>
                      <a:pt x="939" y="3006"/>
                    </a:lnTo>
                    <a:lnTo>
                      <a:pt x="1002" y="3123"/>
                    </a:lnTo>
                    <a:lnTo>
                      <a:pt x="1001" y="3276"/>
                    </a:lnTo>
                    <a:lnTo>
                      <a:pt x="946" y="3376"/>
                    </a:lnTo>
                    <a:lnTo>
                      <a:pt x="804" y="3539"/>
                    </a:lnTo>
                    <a:lnTo>
                      <a:pt x="674" y="3495"/>
                    </a:lnTo>
                    <a:lnTo>
                      <a:pt x="576" y="3575"/>
                    </a:lnTo>
                    <a:lnTo>
                      <a:pt x="438" y="3635"/>
                    </a:lnTo>
                    <a:lnTo>
                      <a:pt x="316" y="3599"/>
                    </a:lnTo>
                    <a:lnTo>
                      <a:pt x="245" y="3519"/>
                    </a:lnTo>
                    <a:lnTo>
                      <a:pt x="197" y="3389"/>
                    </a:lnTo>
                    <a:lnTo>
                      <a:pt x="51" y="3401"/>
                    </a:lnTo>
                    <a:lnTo>
                      <a:pt x="0" y="3356"/>
                    </a:lnTo>
                    <a:lnTo>
                      <a:pt x="103" y="3168"/>
                    </a:lnTo>
                    <a:lnTo>
                      <a:pt x="96" y="2921"/>
                    </a:lnTo>
                    <a:lnTo>
                      <a:pt x="68" y="2681"/>
                    </a:lnTo>
                    <a:lnTo>
                      <a:pt x="202" y="2438"/>
                    </a:lnTo>
                    <a:lnTo>
                      <a:pt x="257" y="2250"/>
                    </a:lnTo>
                    <a:lnTo>
                      <a:pt x="304" y="2163"/>
                    </a:lnTo>
                    <a:lnTo>
                      <a:pt x="411" y="2103"/>
                    </a:lnTo>
                    <a:lnTo>
                      <a:pt x="533" y="2095"/>
                    </a:lnTo>
                    <a:lnTo>
                      <a:pt x="781" y="1927"/>
                    </a:lnTo>
                    <a:lnTo>
                      <a:pt x="911" y="1784"/>
                    </a:lnTo>
                    <a:lnTo>
                      <a:pt x="1052" y="1748"/>
                    </a:lnTo>
                    <a:lnTo>
                      <a:pt x="1159" y="1808"/>
                    </a:lnTo>
                    <a:lnTo>
                      <a:pt x="1427" y="1732"/>
                    </a:lnTo>
                    <a:lnTo>
                      <a:pt x="1438" y="1588"/>
                    </a:lnTo>
                    <a:lnTo>
                      <a:pt x="1356" y="1504"/>
                    </a:lnTo>
                    <a:lnTo>
                      <a:pt x="1336" y="1373"/>
                    </a:lnTo>
                    <a:lnTo>
                      <a:pt x="1371" y="1233"/>
                    </a:lnTo>
                    <a:lnTo>
                      <a:pt x="1474" y="1065"/>
                    </a:lnTo>
                    <a:lnTo>
                      <a:pt x="1403" y="946"/>
                    </a:lnTo>
                    <a:lnTo>
                      <a:pt x="1442" y="778"/>
                    </a:lnTo>
                    <a:lnTo>
                      <a:pt x="1383" y="694"/>
                    </a:lnTo>
                    <a:lnTo>
                      <a:pt x="1537" y="467"/>
                    </a:lnTo>
                    <a:lnTo>
                      <a:pt x="1604" y="311"/>
                    </a:lnTo>
                    <a:lnTo>
                      <a:pt x="1738" y="287"/>
                    </a:lnTo>
                    <a:lnTo>
                      <a:pt x="1923" y="120"/>
                    </a:lnTo>
                    <a:lnTo>
                      <a:pt x="1938"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1" name="Freeform 43">
                <a:extLst>
                  <a:ext uri="{FF2B5EF4-FFF2-40B4-BE49-F238E27FC236}">
                    <a16:creationId xmlns:a16="http://schemas.microsoft.com/office/drawing/2014/main" id="{EFC668B1-00F9-4E81-ABDD-5DBEF2691EE1}"/>
                  </a:ext>
                </a:extLst>
              </p:cNvPr>
              <p:cNvSpPr>
                <a:spLocks/>
              </p:cNvSpPr>
              <p:nvPr/>
            </p:nvSpPr>
            <p:spPr bwMode="auto">
              <a:xfrm>
                <a:off x="2927" y="1466"/>
                <a:ext cx="336" cy="428"/>
              </a:xfrm>
              <a:custGeom>
                <a:avLst/>
                <a:gdLst/>
                <a:ahLst/>
                <a:cxnLst>
                  <a:cxn ang="0">
                    <a:pos x="75" y="84"/>
                  </a:cxn>
                  <a:cxn ang="0">
                    <a:pos x="260" y="60"/>
                  </a:cxn>
                  <a:cxn ang="0">
                    <a:pos x="531" y="0"/>
                  </a:cxn>
                  <a:cxn ang="0">
                    <a:pos x="827" y="140"/>
                  </a:cxn>
                  <a:cxn ang="0">
                    <a:pos x="1268" y="439"/>
                  </a:cxn>
                  <a:cxn ang="0">
                    <a:pos x="1417" y="634"/>
                  </a:cxn>
                  <a:cxn ang="0">
                    <a:pos x="1575" y="810"/>
                  </a:cxn>
                  <a:cxn ang="0">
                    <a:pos x="1740" y="870"/>
                  </a:cxn>
                  <a:cxn ang="0">
                    <a:pos x="1795" y="958"/>
                  </a:cxn>
                  <a:cxn ang="0">
                    <a:pos x="1728" y="993"/>
                  </a:cxn>
                  <a:cxn ang="0">
                    <a:pos x="1618" y="981"/>
                  </a:cxn>
                  <a:cxn ang="0">
                    <a:pos x="1527" y="1113"/>
                  </a:cxn>
                  <a:cxn ang="0">
                    <a:pos x="1417" y="1293"/>
                  </a:cxn>
                  <a:cxn ang="0">
                    <a:pos x="1291" y="1492"/>
                  </a:cxn>
                  <a:cxn ang="0">
                    <a:pos x="1197" y="1508"/>
                  </a:cxn>
                  <a:cxn ang="0">
                    <a:pos x="1175" y="1638"/>
                  </a:cxn>
                  <a:cxn ang="0">
                    <a:pos x="1145" y="1803"/>
                  </a:cxn>
                  <a:cxn ang="0">
                    <a:pos x="1079" y="1867"/>
                  </a:cxn>
                  <a:cxn ang="0">
                    <a:pos x="1127" y="2046"/>
                  </a:cxn>
                  <a:cxn ang="0">
                    <a:pos x="1113" y="2210"/>
                  </a:cxn>
                  <a:cxn ang="0">
                    <a:pos x="1020" y="2234"/>
                  </a:cxn>
                  <a:cxn ang="0">
                    <a:pos x="968" y="2318"/>
                  </a:cxn>
                  <a:cxn ang="0">
                    <a:pos x="724" y="2091"/>
                  </a:cxn>
                  <a:cxn ang="0">
                    <a:pos x="606" y="2071"/>
                  </a:cxn>
                  <a:cxn ang="0">
                    <a:pos x="441" y="2115"/>
                  </a:cxn>
                  <a:cxn ang="0">
                    <a:pos x="287" y="2079"/>
                  </a:cxn>
                  <a:cxn ang="0">
                    <a:pos x="311" y="1939"/>
                  </a:cxn>
                  <a:cxn ang="0">
                    <a:pos x="390" y="1827"/>
                  </a:cxn>
                  <a:cxn ang="0">
                    <a:pos x="236" y="1640"/>
                  </a:cxn>
                  <a:cxn ang="0">
                    <a:pos x="181" y="1277"/>
                  </a:cxn>
                  <a:cxn ang="0">
                    <a:pos x="83" y="798"/>
                  </a:cxn>
                  <a:cxn ang="0">
                    <a:pos x="157" y="682"/>
                  </a:cxn>
                  <a:cxn ang="0">
                    <a:pos x="87" y="575"/>
                  </a:cxn>
                  <a:cxn ang="0">
                    <a:pos x="28" y="431"/>
                  </a:cxn>
                  <a:cxn ang="0">
                    <a:pos x="0" y="275"/>
                  </a:cxn>
                  <a:cxn ang="0">
                    <a:pos x="75" y="84"/>
                  </a:cxn>
                </a:cxnLst>
                <a:rect l="0" t="0" r="r" b="b"/>
                <a:pathLst>
                  <a:path w="1795" h="2318">
                    <a:moveTo>
                      <a:pt x="75" y="84"/>
                    </a:moveTo>
                    <a:lnTo>
                      <a:pt x="260" y="60"/>
                    </a:lnTo>
                    <a:lnTo>
                      <a:pt x="531" y="0"/>
                    </a:lnTo>
                    <a:lnTo>
                      <a:pt x="827" y="140"/>
                    </a:lnTo>
                    <a:lnTo>
                      <a:pt x="1268" y="439"/>
                    </a:lnTo>
                    <a:lnTo>
                      <a:pt x="1417" y="634"/>
                    </a:lnTo>
                    <a:lnTo>
                      <a:pt x="1575" y="810"/>
                    </a:lnTo>
                    <a:lnTo>
                      <a:pt x="1740" y="870"/>
                    </a:lnTo>
                    <a:lnTo>
                      <a:pt x="1795" y="958"/>
                    </a:lnTo>
                    <a:lnTo>
                      <a:pt x="1728" y="993"/>
                    </a:lnTo>
                    <a:lnTo>
                      <a:pt x="1618" y="981"/>
                    </a:lnTo>
                    <a:lnTo>
                      <a:pt x="1527" y="1113"/>
                    </a:lnTo>
                    <a:lnTo>
                      <a:pt x="1417" y="1293"/>
                    </a:lnTo>
                    <a:lnTo>
                      <a:pt x="1291" y="1492"/>
                    </a:lnTo>
                    <a:lnTo>
                      <a:pt x="1197" y="1508"/>
                    </a:lnTo>
                    <a:lnTo>
                      <a:pt x="1175" y="1638"/>
                    </a:lnTo>
                    <a:lnTo>
                      <a:pt x="1145" y="1803"/>
                    </a:lnTo>
                    <a:lnTo>
                      <a:pt x="1079" y="1867"/>
                    </a:lnTo>
                    <a:lnTo>
                      <a:pt x="1127" y="2046"/>
                    </a:lnTo>
                    <a:lnTo>
                      <a:pt x="1113" y="2210"/>
                    </a:lnTo>
                    <a:lnTo>
                      <a:pt x="1020" y="2234"/>
                    </a:lnTo>
                    <a:lnTo>
                      <a:pt x="968" y="2318"/>
                    </a:lnTo>
                    <a:lnTo>
                      <a:pt x="724" y="2091"/>
                    </a:lnTo>
                    <a:lnTo>
                      <a:pt x="606" y="2071"/>
                    </a:lnTo>
                    <a:lnTo>
                      <a:pt x="441" y="2115"/>
                    </a:lnTo>
                    <a:lnTo>
                      <a:pt x="287" y="2079"/>
                    </a:lnTo>
                    <a:lnTo>
                      <a:pt x="311" y="1939"/>
                    </a:lnTo>
                    <a:lnTo>
                      <a:pt x="390" y="1827"/>
                    </a:lnTo>
                    <a:lnTo>
                      <a:pt x="236" y="1640"/>
                    </a:lnTo>
                    <a:lnTo>
                      <a:pt x="181" y="1277"/>
                    </a:lnTo>
                    <a:lnTo>
                      <a:pt x="83" y="798"/>
                    </a:lnTo>
                    <a:lnTo>
                      <a:pt x="157" y="682"/>
                    </a:lnTo>
                    <a:lnTo>
                      <a:pt x="87" y="575"/>
                    </a:lnTo>
                    <a:lnTo>
                      <a:pt x="28" y="431"/>
                    </a:lnTo>
                    <a:lnTo>
                      <a:pt x="0" y="275"/>
                    </a:lnTo>
                    <a:lnTo>
                      <a:pt x="75" y="84"/>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2" name="Freeform 44">
                <a:extLst>
                  <a:ext uri="{FF2B5EF4-FFF2-40B4-BE49-F238E27FC236}">
                    <a16:creationId xmlns:a16="http://schemas.microsoft.com/office/drawing/2014/main" id="{CFA2E0AC-BD79-44CD-8388-12577BBE835E}"/>
                  </a:ext>
                </a:extLst>
              </p:cNvPr>
              <p:cNvSpPr>
                <a:spLocks/>
              </p:cNvSpPr>
              <p:nvPr/>
            </p:nvSpPr>
            <p:spPr bwMode="auto">
              <a:xfrm>
                <a:off x="3159" y="2042"/>
                <a:ext cx="142" cy="169"/>
              </a:xfrm>
              <a:custGeom>
                <a:avLst/>
                <a:gdLst/>
                <a:ahLst/>
                <a:cxnLst>
                  <a:cxn ang="0">
                    <a:pos x="108" y="0"/>
                  </a:cxn>
                  <a:cxn ang="0">
                    <a:pos x="220" y="5"/>
                  </a:cxn>
                  <a:cxn ang="0">
                    <a:pos x="546" y="135"/>
                  </a:cxn>
                  <a:cxn ang="0">
                    <a:pos x="723" y="289"/>
                  </a:cxn>
                  <a:cxn ang="0">
                    <a:pos x="950" y="513"/>
                  </a:cxn>
                  <a:cxn ang="0">
                    <a:pos x="678" y="673"/>
                  </a:cxn>
                  <a:cxn ang="0">
                    <a:pos x="521" y="881"/>
                  </a:cxn>
                  <a:cxn ang="0">
                    <a:pos x="413" y="1031"/>
                  </a:cxn>
                  <a:cxn ang="0">
                    <a:pos x="368" y="1148"/>
                  </a:cxn>
                  <a:cxn ang="0">
                    <a:pos x="237" y="1111"/>
                  </a:cxn>
                  <a:cxn ang="0">
                    <a:pos x="88" y="991"/>
                  </a:cxn>
                  <a:cxn ang="0">
                    <a:pos x="19" y="811"/>
                  </a:cxn>
                  <a:cxn ang="0">
                    <a:pos x="0" y="625"/>
                  </a:cxn>
                  <a:cxn ang="0">
                    <a:pos x="151" y="629"/>
                  </a:cxn>
                  <a:cxn ang="0">
                    <a:pos x="234" y="553"/>
                  </a:cxn>
                  <a:cxn ang="0">
                    <a:pos x="268" y="281"/>
                  </a:cxn>
                  <a:cxn ang="0">
                    <a:pos x="150" y="120"/>
                  </a:cxn>
                  <a:cxn ang="0">
                    <a:pos x="108" y="0"/>
                  </a:cxn>
                </a:cxnLst>
                <a:rect l="0" t="0" r="r" b="b"/>
                <a:pathLst>
                  <a:path w="950" h="1148">
                    <a:moveTo>
                      <a:pt x="108" y="0"/>
                    </a:moveTo>
                    <a:lnTo>
                      <a:pt x="220" y="5"/>
                    </a:lnTo>
                    <a:lnTo>
                      <a:pt x="546" y="135"/>
                    </a:lnTo>
                    <a:lnTo>
                      <a:pt x="723" y="289"/>
                    </a:lnTo>
                    <a:lnTo>
                      <a:pt x="950" y="513"/>
                    </a:lnTo>
                    <a:lnTo>
                      <a:pt x="678" y="673"/>
                    </a:lnTo>
                    <a:lnTo>
                      <a:pt x="521" y="881"/>
                    </a:lnTo>
                    <a:lnTo>
                      <a:pt x="413" y="1031"/>
                    </a:lnTo>
                    <a:lnTo>
                      <a:pt x="368" y="1148"/>
                    </a:lnTo>
                    <a:lnTo>
                      <a:pt x="237" y="1111"/>
                    </a:lnTo>
                    <a:lnTo>
                      <a:pt x="88" y="991"/>
                    </a:lnTo>
                    <a:lnTo>
                      <a:pt x="19" y="811"/>
                    </a:lnTo>
                    <a:lnTo>
                      <a:pt x="0" y="625"/>
                    </a:lnTo>
                    <a:lnTo>
                      <a:pt x="151" y="629"/>
                    </a:lnTo>
                    <a:lnTo>
                      <a:pt x="234" y="553"/>
                    </a:lnTo>
                    <a:lnTo>
                      <a:pt x="268" y="281"/>
                    </a:lnTo>
                    <a:lnTo>
                      <a:pt x="150" y="120"/>
                    </a:lnTo>
                    <a:lnTo>
                      <a:pt x="108" y="0"/>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3" name="Freeform 45">
                <a:extLst>
                  <a:ext uri="{FF2B5EF4-FFF2-40B4-BE49-F238E27FC236}">
                    <a16:creationId xmlns:a16="http://schemas.microsoft.com/office/drawing/2014/main" id="{480F13B8-8141-45E1-BDEF-233E09BF6AF7}"/>
                  </a:ext>
                </a:extLst>
              </p:cNvPr>
              <p:cNvSpPr>
                <a:spLocks/>
              </p:cNvSpPr>
              <p:nvPr/>
            </p:nvSpPr>
            <p:spPr bwMode="auto">
              <a:xfrm>
                <a:off x="3158" y="1976"/>
                <a:ext cx="254" cy="142"/>
              </a:xfrm>
              <a:custGeom>
                <a:avLst/>
                <a:gdLst/>
                <a:ahLst/>
                <a:cxnLst>
                  <a:cxn ang="0">
                    <a:pos x="1359" y="56"/>
                  </a:cxn>
                  <a:cxn ang="0">
                    <a:pos x="1225" y="24"/>
                  </a:cxn>
                  <a:cxn ang="0">
                    <a:pos x="1111" y="36"/>
                  </a:cxn>
                  <a:cxn ang="0">
                    <a:pos x="1004" y="0"/>
                  </a:cxn>
                  <a:cxn ang="0">
                    <a:pos x="882" y="128"/>
                  </a:cxn>
                  <a:cxn ang="0">
                    <a:pos x="744" y="203"/>
                  </a:cxn>
                  <a:cxn ang="0">
                    <a:pos x="516" y="188"/>
                  </a:cxn>
                  <a:cxn ang="0">
                    <a:pos x="355" y="60"/>
                  </a:cxn>
                  <a:cxn ang="0">
                    <a:pos x="236" y="0"/>
                  </a:cxn>
                  <a:cxn ang="0">
                    <a:pos x="0" y="88"/>
                  </a:cxn>
                  <a:cxn ang="0">
                    <a:pos x="95" y="355"/>
                  </a:cxn>
                  <a:cxn ang="0">
                    <a:pos x="186" y="360"/>
                  </a:cxn>
                  <a:cxn ang="0">
                    <a:pos x="444" y="463"/>
                  </a:cxn>
                  <a:cxn ang="0">
                    <a:pos x="599" y="598"/>
                  </a:cxn>
                  <a:cxn ang="0">
                    <a:pos x="768" y="766"/>
                  </a:cxn>
                  <a:cxn ang="0">
                    <a:pos x="1016" y="491"/>
                  </a:cxn>
                  <a:cxn ang="0">
                    <a:pos x="1225" y="287"/>
                  </a:cxn>
                  <a:cxn ang="0">
                    <a:pos x="1359" y="56"/>
                  </a:cxn>
                </a:cxnLst>
                <a:rect l="0" t="0" r="r" b="b"/>
                <a:pathLst>
                  <a:path w="1359" h="766">
                    <a:moveTo>
                      <a:pt x="1359" y="56"/>
                    </a:moveTo>
                    <a:lnTo>
                      <a:pt x="1225" y="24"/>
                    </a:lnTo>
                    <a:lnTo>
                      <a:pt x="1111" y="36"/>
                    </a:lnTo>
                    <a:lnTo>
                      <a:pt x="1004" y="0"/>
                    </a:lnTo>
                    <a:lnTo>
                      <a:pt x="882" y="128"/>
                    </a:lnTo>
                    <a:lnTo>
                      <a:pt x="744" y="203"/>
                    </a:lnTo>
                    <a:lnTo>
                      <a:pt x="516" y="188"/>
                    </a:lnTo>
                    <a:lnTo>
                      <a:pt x="355" y="60"/>
                    </a:lnTo>
                    <a:lnTo>
                      <a:pt x="236" y="0"/>
                    </a:lnTo>
                    <a:lnTo>
                      <a:pt x="0" y="88"/>
                    </a:lnTo>
                    <a:lnTo>
                      <a:pt x="95" y="355"/>
                    </a:lnTo>
                    <a:lnTo>
                      <a:pt x="186" y="360"/>
                    </a:lnTo>
                    <a:lnTo>
                      <a:pt x="444" y="463"/>
                    </a:lnTo>
                    <a:lnTo>
                      <a:pt x="599" y="598"/>
                    </a:lnTo>
                    <a:lnTo>
                      <a:pt x="768" y="766"/>
                    </a:lnTo>
                    <a:lnTo>
                      <a:pt x="1016" y="491"/>
                    </a:lnTo>
                    <a:lnTo>
                      <a:pt x="1225" y="287"/>
                    </a:lnTo>
                    <a:lnTo>
                      <a:pt x="1359" y="5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4" name="Freeform 46">
                <a:extLst>
                  <a:ext uri="{FF2B5EF4-FFF2-40B4-BE49-F238E27FC236}">
                    <a16:creationId xmlns:a16="http://schemas.microsoft.com/office/drawing/2014/main" id="{84792BA9-711F-4E25-AA6B-0E2F44760F3E}"/>
                  </a:ext>
                </a:extLst>
              </p:cNvPr>
              <p:cNvSpPr>
                <a:spLocks/>
              </p:cNvSpPr>
              <p:nvPr/>
            </p:nvSpPr>
            <p:spPr bwMode="auto">
              <a:xfrm>
                <a:off x="2919" y="1834"/>
                <a:ext cx="522" cy="186"/>
              </a:xfrm>
              <a:custGeom>
                <a:avLst/>
                <a:gdLst/>
                <a:ahLst/>
                <a:cxnLst>
                  <a:cxn ang="0">
                    <a:pos x="1155" y="216"/>
                  </a:cxn>
                  <a:cxn ang="0">
                    <a:pos x="1212" y="267"/>
                  </a:cxn>
                  <a:cxn ang="0">
                    <a:pos x="1296" y="242"/>
                  </a:cxn>
                  <a:cxn ang="0">
                    <a:pos x="1369" y="326"/>
                  </a:cxn>
                  <a:cxn ang="0">
                    <a:pos x="1495" y="255"/>
                  </a:cxn>
                  <a:cxn ang="0">
                    <a:pos x="1602" y="148"/>
                  </a:cxn>
                  <a:cxn ang="0">
                    <a:pos x="1736" y="52"/>
                  </a:cxn>
                  <a:cxn ang="0">
                    <a:pos x="1771" y="160"/>
                  </a:cxn>
                  <a:cxn ang="0">
                    <a:pos x="1783" y="347"/>
                  </a:cxn>
                  <a:cxn ang="0">
                    <a:pos x="1810" y="495"/>
                  </a:cxn>
                  <a:cxn ang="0">
                    <a:pos x="1944" y="479"/>
                  </a:cxn>
                  <a:cxn ang="0">
                    <a:pos x="2055" y="339"/>
                  </a:cxn>
                  <a:cxn ang="0">
                    <a:pos x="2267" y="323"/>
                  </a:cxn>
                  <a:cxn ang="0">
                    <a:pos x="2417" y="251"/>
                  </a:cxn>
                  <a:cxn ang="0">
                    <a:pos x="2523" y="136"/>
                  </a:cxn>
                  <a:cxn ang="0">
                    <a:pos x="2665" y="12"/>
                  </a:cxn>
                  <a:cxn ang="0">
                    <a:pos x="2783" y="0"/>
                  </a:cxn>
                  <a:cxn ang="0">
                    <a:pos x="2787" y="275"/>
                  </a:cxn>
                  <a:cxn ang="0">
                    <a:pos x="2775" y="483"/>
                  </a:cxn>
                  <a:cxn ang="0">
                    <a:pos x="2704" y="658"/>
                  </a:cxn>
                  <a:cxn ang="0">
                    <a:pos x="2634" y="827"/>
                  </a:cxn>
                  <a:cxn ang="0">
                    <a:pos x="2503" y="795"/>
                  </a:cxn>
                  <a:cxn ang="0">
                    <a:pos x="2385" y="806"/>
                  </a:cxn>
                  <a:cxn ang="0">
                    <a:pos x="2278" y="771"/>
                  </a:cxn>
                  <a:cxn ang="0">
                    <a:pos x="2160" y="897"/>
                  </a:cxn>
                  <a:cxn ang="0">
                    <a:pos x="2022" y="972"/>
                  </a:cxn>
                  <a:cxn ang="0">
                    <a:pos x="1791" y="959"/>
                  </a:cxn>
                  <a:cxn ang="0">
                    <a:pos x="1633" y="833"/>
                  </a:cxn>
                  <a:cxn ang="0">
                    <a:pos x="1513" y="771"/>
                  </a:cxn>
                  <a:cxn ang="0">
                    <a:pos x="1275" y="857"/>
                  </a:cxn>
                  <a:cxn ang="0">
                    <a:pos x="1168" y="863"/>
                  </a:cxn>
                  <a:cxn ang="0">
                    <a:pos x="1074" y="804"/>
                  </a:cxn>
                  <a:cxn ang="0">
                    <a:pos x="810" y="623"/>
                  </a:cxn>
                  <a:cxn ang="0">
                    <a:pos x="637" y="734"/>
                  </a:cxn>
                  <a:cxn ang="0">
                    <a:pos x="590" y="841"/>
                  </a:cxn>
                  <a:cxn ang="0">
                    <a:pos x="447" y="863"/>
                  </a:cxn>
                  <a:cxn ang="0">
                    <a:pos x="402" y="968"/>
                  </a:cxn>
                  <a:cxn ang="0">
                    <a:pos x="267" y="1009"/>
                  </a:cxn>
                  <a:cxn ang="0">
                    <a:pos x="258" y="927"/>
                  </a:cxn>
                  <a:cxn ang="0">
                    <a:pos x="184" y="849"/>
                  </a:cxn>
                  <a:cxn ang="0">
                    <a:pos x="184" y="744"/>
                  </a:cxn>
                  <a:cxn ang="0">
                    <a:pos x="0" y="671"/>
                  </a:cxn>
                  <a:cxn ang="0">
                    <a:pos x="153" y="530"/>
                  </a:cxn>
                  <a:cxn ang="0">
                    <a:pos x="279" y="471"/>
                  </a:cxn>
                  <a:cxn ang="0">
                    <a:pos x="350" y="395"/>
                  </a:cxn>
                  <a:cxn ang="0">
                    <a:pos x="294" y="231"/>
                  </a:cxn>
                  <a:cxn ang="0">
                    <a:pos x="330" y="84"/>
                  </a:cxn>
                  <a:cxn ang="0">
                    <a:pos x="483" y="120"/>
                  </a:cxn>
                  <a:cxn ang="0">
                    <a:pos x="651" y="75"/>
                  </a:cxn>
                  <a:cxn ang="0">
                    <a:pos x="769" y="95"/>
                  </a:cxn>
                  <a:cxn ang="0">
                    <a:pos x="1011" y="323"/>
                  </a:cxn>
                  <a:cxn ang="0">
                    <a:pos x="1060" y="240"/>
                  </a:cxn>
                  <a:cxn ang="0">
                    <a:pos x="1155" y="216"/>
                  </a:cxn>
                </a:cxnLst>
                <a:rect l="0" t="0" r="r" b="b"/>
                <a:pathLst>
                  <a:path w="2787" h="1009">
                    <a:moveTo>
                      <a:pt x="1155" y="216"/>
                    </a:moveTo>
                    <a:lnTo>
                      <a:pt x="1212" y="267"/>
                    </a:lnTo>
                    <a:lnTo>
                      <a:pt x="1296" y="242"/>
                    </a:lnTo>
                    <a:lnTo>
                      <a:pt x="1369" y="326"/>
                    </a:lnTo>
                    <a:lnTo>
                      <a:pt x="1495" y="255"/>
                    </a:lnTo>
                    <a:lnTo>
                      <a:pt x="1602" y="148"/>
                    </a:lnTo>
                    <a:lnTo>
                      <a:pt x="1736" y="52"/>
                    </a:lnTo>
                    <a:lnTo>
                      <a:pt x="1771" y="160"/>
                    </a:lnTo>
                    <a:lnTo>
                      <a:pt x="1783" y="347"/>
                    </a:lnTo>
                    <a:lnTo>
                      <a:pt x="1810" y="495"/>
                    </a:lnTo>
                    <a:lnTo>
                      <a:pt x="1944" y="479"/>
                    </a:lnTo>
                    <a:lnTo>
                      <a:pt x="2055" y="339"/>
                    </a:lnTo>
                    <a:lnTo>
                      <a:pt x="2267" y="323"/>
                    </a:lnTo>
                    <a:lnTo>
                      <a:pt x="2417" y="251"/>
                    </a:lnTo>
                    <a:lnTo>
                      <a:pt x="2523" y="136"/>
                    </a:lnTo>
                    <a:lnTo>
                      <a:pt x="2665" y="12"/>
                    </a:lnTo>
                    <a:lnTo>
                      <a:pt x="2783" y="0"/>
                    </a:lnTo>
                    <a:lnTo>
                      <a:pt x="2787" y="275"/>
                    </a:lnTo>
                    <a:lnTo>
                      <a:pt x="2775" y="483"/>
                    </a:lnTo>
                    <a:lnTo>
                      <a:pt x="2704" y="658"/>
                    </a:lnTo>
                    <a:lnTo>
                      <a:pt x="2634" y="827"/>
                    </a:lnTo>
                    <a:lnTo>
                      <a:pt x="2503" y="795"/>
                    </a:lnTo>
                    <a:lnTo>
                      <a:pt x="2385" y="806"/>
                    </a:lnTo>
                    <a:lnTo>
                      <a:pt x="2278" y="771"/>
                    </a:lnTo>
                    <a:lnTo>
                      <a:pt x="2160" y="897"/>
                    </a:lnTo>
                    <a:lnTo>
                      <a:pt x="2022" y="972"/>
                    </a:lnTo>
                    <a:lnTo>
                      <a:pt x="1791" y="959"/>
                    </a:lnTo>
                    <a:lnTo>
                      <a:pt x="1633" y="833"/>
                    </a:lnTo>
                    <a:lnTo>
                      <a:pt x="1513" y="771"/>
                    </a:lnTo>
                    <a:lnTo>
                      <a:pt x="1275" y="857"/>
                    </a:lnTo>
                    <a:lnTo>
                      <a:pt x="1168" y="863"/>
                    </a:lnTo>
                    <a:lnTo>
                      <a:pt x="1074" y="804"/>
                    </a:lnTo>
                    <a:lnTo>
                      <a:pt x="810" y="623"/>
                    </a:lnTo>
                    <a:lnTo>
                      <a:pt x="637" y="734"/>
                    </a:lnTo>
                    <a:lnTo>
                      <a:pt x="590" y="841"/>
                    </a:lnTo>
                    <a:lnTo>
                      <a:pt x="447" y="863"/>
                    </a:lnTo>
                    <a:lnTo>
                      <a:pt x="402" y="968"/>
                    </a:lnTo>
                    <a:lnTo>
                      <a:pt x="267" y="1009"/>
                    </a:lnTo>
                    <a:lnTo>
                      <a:pt x="258" y="927"/>
                    </a:lnTo>
                    <a:lnTo>
                      <a:pt x="184" y="849"/>
                    </a:lnTo>
                    <a:lnTo>
                      <a:pt x="184" y="744"/>
                    </a:lnTo>
                    <a:lnTo>
                      <a:pt x="0" y="671"/>
                    </a:lnTo>
                    <a:lnTo>
                      <a:pt x="153" y="530"/>
                    </a:lnTo>
                    <a:lnTo>
                      <a:pt x="279" y="471"/>
                    </a:lnTo>
                    <a:lnTo>
                      <a:pt x="350" y="395"/>
                    </a:lnTo>
                    <a:lnTo>
                      <a:pt x="294" y="231"/>
                    </a:lnTo>
                    <a:lnTo>
                      <a:pt x="330" y="84"/>
                    </a:lnTo>
                    <a:lnTo>
                      <a:pt x="483" y="120"/>
                    </a:lnTo>
                    <a:lnTo>
                      <a:pt x="651" y="75"/>
                    </a:lnTo>
                    <a:lnTo>
                      <a:pt x="769" y="95"/>
                    </a:lnTo>
                    <a:lnTo>
                      <a:pt x="1011" y="323"/>
                    </a:lnTo>
                    <a:lnTo>
                      <a:pt x="1060" y="240"/>
                    </a:lnTo>
                    <a:lnTo>
                      <a:pt x="1155" y="216"/>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5" name="Freeform 47">
                <a:extLst>
                  <a:ext uri="{FF2B5EF4-FFF2-40B4-BE49-F238E27FC236}">
                    <a16:creationId xmlns:a16="http://schemas.microsoft.com/office/drawing/2014/main" id="{D2FA1A02-C5A1-4B93-9FAC-D5C5BC0B54BB}"/>
                  </a:ext>
                </a:extLst>
              </p:cNvPr>
              <p:cNvSpPr>
                <a:spLocks/>
              </p:cNvSpPr>
              <p:nvPr/>
            </p:nvSpPr>
            <p:spPr bwMode="auto">
              <a:xfrm>
                <a:off x="3129" y="1741"/>
                <a:ext cx="311" cy="184"/>
              </a:xfrm>
              <a:custGeom>
                <a:avLst/>
                <a:gdLst/>
                <a:ahLst/>
                <a:cxnLst>
                  <a:cxn ang="0">
                    <a:pos x="116" y="184"/>
                  </a:cxn>
                  <a:cxn ang="0">
                    <a:pos x="319" y="229"/>
                  </a:cxn>
                  <a:cxn ang="0">
                    <a:pos x="599" y="64"/>
                  </a:cxn>
                  <a:cxn ang="0">
                    <a:pos x="753" y="1"/>
                  </a:cxn>
                  <a:cxn ang="0">
                    <a:pos x="824" y="0"/>
                  </a:cxn>
                  <a:cxn ang="0">
                    <a:pos x="858" y="124"/>
                  </a:cxn>
                  <a:cxn ang="0">
                    <a:pos x="645" y="332"/>
                  </a:cxn>
                  <a:cxn ang="0">
                    <a:pos x="850" y="392"/>
                  </a:cxn>
                  <a:cxn ang="0">
                    <a:pos x="998" y="388"/>
                  </a:cxn>
                  <a:cxn ang="0">
                    <a:pos x="1177" y="512"/>
                  </a:cxn>
                  <a:cxn ang="0">
                    <a:pos x="1239" y="388"/>
                  </a:cxn>
                  <a:cxn ang="0">
                    <a:pos x="1181" y="184"/>
                  </a:cxn>
                  <a:cxn ang="0">
                    <a:pos x="1271" y="120"/>
                  </a:cxn>
                  <a:cxn ang="0">
                    <a:pos x="1477" y="229"/>
                  </a:cxn>
                  <a:cxn ang="0">
                    <a:pos x="1717" y="237"/>
                  </a:cxn>
                  <a:cxn ang="0">
                    <a:pos x="2052" y="282"/>
                  </a:cxn>
                  <a:cxn ang="0">
                    <a:pos x="2046" y="468"/>
                  </a:cxn>
                  <a:cxn ang="0">
                    <a:pos x="2076" y="629"/>
                  </a:cxn>
                  <a:cxn ang="0">
                    <a:pos x="1927" y="644"/>
                  </a:cxn>
                  <a:cxn ang="0">
                    <a:pos x="1751" y="799"/>
                  </a:cxn>
                  <a:cxn ang="0">
                    <a:pos x="1624" y="937"/>
                  </a:cxn>
                  <a:cxn ang="0">
                    <a:pos x="1436" y="1030"/>
                  </a:cxn>
                  <a:cxn ang="0">
                    <a:pos x="1166" y="1053"/>
                  </a:cxn>
                  <a:cxn ang="0">
                    <a:pos x="1028" y="1229"/>
                  </a:cxn>
                  <a:cxn ang="0">
                    <a:pos x="858" y="1247"/>
                  </a:cxn>
                  <a:cxn ang="0">
                    <a:pos x="825" y="1064"/>
                  </a:cxn>
                  <a:cxn ang="0">
                    <a:pos x="810" y="829"/>
                  </a:cxn>
                  <a:cxn ang="0">
                    <a:pos x="767" y="694"/>
                  </a:cxn>
                  <a:cxn ang="0">
                    <a:pos x="588" y="824"/>
                  </a:cxn>
                  <a:cxn ang="0">
                    <a:pos x="465" y="950"/>
                  </a:cxn>
                  <a:cxn ang="0">
                    <a:pos x="306" y="1038"/>
                  </a:cxn>
                  <a:cxn ang="0">
                    <a:pos x="215" y="934"/>
                  </a:cxn>
                  <a:cxn ang="0">
                    <a:pos x="111" y="962"/>
                  </a:cxn>
                  <a:cxn ang="0">
                    <a:pos x="43" y="899"/>
                  </a:cxn>
                  <a:cxn ang="0">
                    <a:pos x="58" y="689"/>
                  </a:cxn>
                  <a:cxn ang="0">
                    <a:pos x="0" y="470"/>
                  </a:cxn>
                  <a:cxn ang="0">
                    <a:pos x="83" y="388"/>
                  </a:cxn>
                  <a:cxn ang="0">
                    <a:pos x="116" y="184"/>
                  </a:cxn>
                </a:cxnLst>
                <a:rect l="0" t="0" r="r" b="b"/>
                <a:pathLst>
                  <a:path w="2076" h="1247">
                    <a:moveTo>
                      <a:pt x="116" y="184"/>
                    </a:moveTo>
                    <a:lnTo>
                      <a:pt x="319" y="229"/>
                    </a:lnTo>
                    <a:lnTo>
                      <a:pt x="599" y="64"/>
                    </a:lnTo>
                    <a:lnTo>
                      <a:pt x="753" y="1"/>
                    </a:lnTo>
                    <a:lnTo>
                      <a:pt x="824" y="0"/>
                    </a:lnTo>
                    <a:lnTo>
                      <a:pt x="858" y="124"/>
                    </a:lnTo>
                    <a:lnTo>
                      <a:pt x="645" y="332"/>
                    </a:lnTo>
                    <a:lnTo>
                      <a:pt x="850" y="392"/>
                    </a:lnTo>
                    <a:lnTo>
                      <a:pt x="998" y="388"/>
                    </a:lnTo>
                    <a:lnTo>
                      <a:pt x="1177" y="512"/>
                    </a:lnTo>
                    <a:lnTo>
                      <a:pt x="1239" y="388"/>
                    </a:lnTo>
                    <a:lnTo>
                      <a:pt x="1181" y="184"/>
                    </a:lnTo>
                    <a:lnTo>
                      <a:pt x="1271" y="120"/>
                    </a:lnTo>
                    <a:lnTo>
                      <a:pt x="1477" y="229"/>
                    </a:lnTo>
                    <a:lnTo>
                      <a:pt x="1717" y="237"/>
                    </a:lnTo>
                    <a:lnTo>
                      <a:pt x="2052" y="282"/>
                    </a:lnTo>
                    <a:lnTo>
                      <a:pt x="2046" y="468"/>
                    </a:lnTo>
                    <a:lnTo>
                      <a:pt x="2076" y="629"/>
                    </a:lnTo>
                    <a:lnTo>
                      <a:pt x="1927" y="644"/>
                    </a:lnTo>
                    <a:lnTo>
                      <a:pt x="1751" y="799"/>
                    </a:lnTo>
                    <a:lnTo>
                      <a:pt x="1624" y="937"/>
                    </a:lnTo>
                    <a:lnTo>
                      <a:pt x="1436" y="1030"/>
                    </a:lnTo>
                    <a:lnTo>
                      <a:pt x="1166" y="1053"/>
                    </a:lnTo>
                    <a:lnTo>
                      <a:pt x="1028" y="1229"/>
                    </a:lnTo>
                    <a:lnTo>
                      <a:pt x="858" y="1247"/>
                    </a:lnTo>
                    <a:lnTo>
                      <a:pt x="825" y="1064"/>
                    </a:lnTo>
                    <a:lnTo>
                      <a:pt x="810" y="829"/>
                    </a:lnTo>
                    <a:lnTo>
                      <a:pt x="767" y="694"/>
                    </a:lnTo>
                    <a:lnTo>
                      <a:pt x="588" y="824"/>
                    </a:lnTo>
                    <a:lnTo>
                      <a:pt x="465" y="950"/>
                    </a:lnTo>
                    <a:lnTo>
                      <a:pt x="306" y="1038"/>
                    </a:lnTo>
                    <a:lnTo>
                      <a:pt x="215" y="934"/>
                    </a:lnTo>
                    <a:lnTo>
                      <a:pt x="111" y="962"/>
                    </a:lnTo>
                    <a:lnTo>
                      <a:pt x="43" y="899"/>
                    </a:lnTo>
                    <a:lnTo>
                      <a:pt x="58" y="689"/>
                    </a:lnTo>
                    <a:lnTo>
                      <a:pt x="0" y="470"/>
                    </a:lnTo>
                    <a:lnTo>
                      <a:pt x="83" y="388"/>
                    </a:lnTo>
                    <a:lnTo>
                      <a:pt x="116" y="184"/>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6" name="Freeform 48">
                <a:extLst>
                  <a:ext uri="{FF2B5EF4-FFF2-40B4-BE49-F238E27FC236}">
                    <a16:creationId xmlns:a16="http://schemas.microsoft.com/office/drawing/2014/main" id="{9C5034DC-69DC-45B2-8400-30E5E96432E3}"/>
                  </a:ext>
                </a:extLst>
              </p:cNvPr>
              <p:cNvSpPr>
                <a:spLocks/>
              </p:cNvSpPr>
              <p:nvPr/>
            </p:nvSpPr>
            <p:spPr bwMode="auto">
              <a:xfrm>
                <a:off x="3147" y="1642"/>
                <a:ext cx="289" cy="175"/>
              </a:xfrm>
              <a:custGeom>
                <a:avLst/>
                <a:gdLst/>
                <a:ahLst/>
                <a:cxnLst>
                  <a:cxn ang="0">
                    <a:pos x="1742" y="233"/>
                  </a:cxn>
                  <a:cxn ang="0">
                    <a:pos x="1579" y="143"/>
                  </a:cxn>
                  <a:cxn ang="0">
                    <a:pos x="1329" y="173"/>
                  </a:cxn>
                  <a:cxn ang="0">
                    <a:pos x="1092" y="143"/>
                  </a:cxn>
                  <a:cxn ang="0">
                    <a:pos x="940" y="53"/>
                  </a:cxn>
                  <a:cxn ang="0">
                    <a:pos x="778" y="0"/>
                  </a:cxn>
                  <a:cxn ang="0">
                    <a:pos x="697" y="43"/>
                  </a:cxn>
                  <a:cxn ang="0">
                    <a:pos x="555" y="29"/>
                  </a:cxn>
                  <a:cxn ang="0">
                    <a:pos x="439" y="203"/>
                  </a:cxn>
                  <a:cxn ang="0">
                    <a:pos x="306" y="414"/>
                  </a:cxn>
                  <a:cxn ang="0">
                    <a:pos x="150" y="666"/>
                  </a:cxn>
                  <a:cxn ang="0">
                    <a:pos x="30" y="687"/>
                  </a:cxn>
                  <a:cxn ang="0">
                    <a:pos x="0" y="853"/>
                  </a:cxn>
                  <a:cxn ang="0">
                    <a:pos x="201" y="897"/>
                  </a:cxn>
                  <a:cxn ang="0">
                    <a:pos x="487" y="732"/>
                  </a:cxn>
                  <a:cxn ang="0">
                    <a:pos x="630" y="672"/>
                  </a:cxn>
                  <a:cxn ang="0">
                    <a:pos x="708" y="667"/>
                  </a:cxn>
                  <a:cxn ang="0">
                    <a:pos x="738" y="793"/>
                  </a:cxn>
                  <a:cxn ang="0">
                    <a:pos x="526" y="1002"/>
                  </a:cxn>
                  <a:cxn ang="0">
                    <a:pos x="738" y="1062"/>
                  </a:cxn>
                  <a:cxn ang="0">
                    <a:pos x="881" y="1057"/>
                  </a:cxn>
                  <a:cxn ang="0">
                    <a:pos x="1058" y="1182"/>
                  </a:cxn>
                  <a:cxn ang="0">
                    <a:pos x="1122" y="1057"/>
                  </a:cxn>
                  <a:cxn ang="0">
                    <a:pos x="1063" y="853"/>
                  </a:cxn>
                  <a:cxn ang="0">
                    <a:pos x="1152" y="788"/>
                  </a:cxn>
                  <a:cxn ang="0">
                    <a:pos x="1358" y="897"/>
                  </a:cxn>
                  <a:cxn ang="0">
                    <a:pos x="1609" y="907"/>
                  </a:cxn>
                  <a:cxn ang="0">
                    <a:pos x="1934" y="952"/>
                  </a:cxn>
                  <a:cxn ang="0">
                    <a:pos x="1919" y="823"/>
                  </a:cxn>
                  <a:cxn ang="0">
                    <a:pos x="1870" y="682"/>
                  </a:cxn>
                  <a:cxn ang="0">
                    <a:pos x="1815" y="442"/>
                  </a:cxn>
                  <a:cxn ang="0">
                    <a:pos x="1742" y="233"/>
                  </a:cxn>
                </a:cxnLst>
                <a:rect l="0" t="0" r="r" b="b"/>
                <a:pathLst>
                  <a:path w="1934" h="1182">
                    <a:moveTo>
                      <a:pt x="1742" y="233"/>
                    </a:moveTo>
                    <a:lnTo>
                      <a:pt x="1579" y="143"/>
                    </a:lnTo>
                    <a:lnTo>
                      <a:pt x="1329" y="173"/>
                    </a:lnTo>
                    <a:lnTo>
                      <a:pt x="1092" y="143"/>
                    </a:lnTo>
                    <a:lnTo>
                      <a:pt x="940" y="53"/>
                    </a:lnTo>
                    <a:lnTo>
                      <a:pt x="778" y="0"/>
                    </a:lnTo>
                    <a:lnTo>
                      <a:pt x="697" y="43"/>
                    </a:lnTo>
                    <a:lnTo>
                      <a:pt x="555" y="29"/>
                    </a:lnTo>
                    <a:lnTo>
                      <a:pt x="439" y="203"/>
                    </a:lnTo>
                    <a:lnTo>
                      <a:pt x="306" y="414"/>
                    </a:lnTo>
                    <a:lnTo>
                      <a:pt x="150" y="666"/>
                    </a:lnTo>
                    <a:lnTo>
                      <a:pt x="30" y="687"/>
                    </a:lnTo>
                    <a:lnTo>
                      <a:pt x="0" y="853"/>
                    </a:lnTo>
                    <a:lnTo>
                      <a:pt x="201" y="897"/>
                    </a:lnTo>
                    <a:lnTo>
                      <a:pt x="487" y="732"/>
                    </a:lnTo>
                    <a:lnTo>
                      <a:pt x="630" y="672"/>
                    </a:lnTo>
                    <a:lnTo>
                      <a:pt x="708" y="667"/>
                    </a:lnTo>
                    <a:lnTo>
                      <a:pt x="738" y="793"/>
                    </a:lnTo>
                    <a:lnTo>
                      <a:pt x="526" y="1002"/>
                    </a:lnTo>
                    <a:lnTo>
                      <a:pt x="738" y="1062"/>
                    </a:lnTo>
                    <a:lnTo>
                      <a:pt x="881" y="1057"/>
                    </a:lnTo>
                    <a:lnTo>
                      <a:pt x="1058" y="1182"/>
                    </a:lnTo>
                    <a:lnTo>
                      <a:pt x="1122" y="1057"/>
                    </a:lnTo>
                    <a:lnTo>
                      <a:pt x="1063" y="853"/>
                    </a:lnTo>
                    <a:lnTo>
                      <a:pt x="1152" y="788"/>
                    </a:lnTo>
                    <a:lnTo>
                      <a:pt x="1358" y="897"/>
                    </a:lnTo>
                    <a:lnTo>
                      <a:pt x="1609" y="907"/>
                    </a:lnTo>
                    <a:lnTo>
                      <a:pt x="1934" y="952"/>
                    </a:lnTo>
                    <a:lnTo>
                      <a:pt x="1919" y="823"/>
                    </a:lnTo>
                    <a:lnTo>
                      <a:pt x="1870" y="682"/>
                    </a:lnTo>
                    <a:lnTo>
                      <a:pt x="1815" y="442"/>
                    </a:lnTo>
                    <a:lnTo>
                      <a:pt x="1742" y="233"/>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7" name="Freeform 49">
                <a:extLst>
                  <a:ext uri="{FF2B5EF4-FFF2-40B4-BE49-F238E27FC236}">
                    <a16:creationId xmlns:a16="http://schemas.microsoft.com/office/drawing/2014/main" id="{E6FB2DA9-5765-445A-8603-9FDE228CA707}"/>
                  </a:ext>
                </a:extLst>
              </p:cNvPr>
              <p:cNvSpPr>
                <a:spLocks/>
              </p:cNvSpPr>
              <p:nvPr/>
            </p:nvSpPr>
            <p:spPr bwMode="auto">
              <a:xfrm>
                <a:off x="1017" y="802"/>
                <a:ext cx="486" cy="543"/>
              </a:xfrm>
              <a:custGeom>
                <a:avLst/>
                <a:gdLst/>
                <a:ahLst/>
                <a:cxnLst>
                  <a:cxn ang="0">
                    <a:pos x="2316" y="170"/>
                  </a:cxn>
                  <a:cxn ang="0">
                    <a:pos x="2108" y="409"/>
                  </a:cxn>
                  <a:cxn ang="0">
                    <a:pos x="1784" y="524"/>
                  </a:cxn>
                  <a:cxn ang="0">
                    <a:pos x="1286" y="644"/>
                  </a:cxn>
                  <a:cxn ang="0">
                    <a:pos x="1123" y="853"/>
                  </a:cxn>
                  <a:cxn ang="0">
                    <a:pos x="739" y="679"/>
                  </a:cxn>
                  <a:cxn ang="0">
                    <a:pos x="369" y="584"/>
                  </a:cxn>
                  <a:cxn ang="0">
                    <a:pos x="5" y="499"/>
                  </a:cxn>
                  <a:cxn ang="0">
                    <a:pos x="104" y="763"/>
                  </a:cxn>
                  <a:cxn ang="0">
                    <a:pos x="325" y="978"/>
                  </a:cxn>
                  <a:cxn ang="0">
                    <a:pos x="409" y="1332"/>
                  </a:cxn>
                  <a:cxn ang="0">
                    <a:pos x="542" y="1592"/>
                  </a:cxn>
                  <a:cxn ang="0">
                    <a:pos x="779" y="1700"/>
                  </a:cxn>
                  <a:cxn ang="0">
                    <a:pos x="1123" y="1861"/>
                  </a:cxn>
                  <a:cxn ang="0">
                    <a:pos x="1222" y="2219"/>
                  </a:cxn>
                  <a:cxn ang="0">
                    <a:pos x="1227" y="2948"/>
                  </a:cxn>
                  <a:cxn ang="0">
                    <a:pos x="1360" y="3247"/>
                  </a:cxn>
                  <a:cxn ang="0">
                    <a:pos x="1493" y="3506"/>
                  </a:cxn>
                  <a:cxn ang="0">
                    <a:pos x="1739" y="3681"/>
                  </a:cxn>
                  <a:cxn ang="0">
                    <a:pos x="1922" y="3187"/>
                  </a:cxn>
                  <a:cxn ang="0">
                    <a:pos x="2261" y="3357"/>
                  </a:cxn>
                  <a:cxn ang="0">
                    <a:pos x="2448" y="3247"/>
                  </a:cxn>
                  <a:cxn ang="0">
                    <a:pos x="2542" y="2893"/>
                  </a:cxn>
                  <a:cxn ang="0">
                    <a:pos x="2956" y="2788"/>
                  </a:cxn>
                  <a:cxn ang="0">
                    <a:pos x="3176" y="2333"/>
                  </a:cxn>
                  <a:cxn ang="0">
                    <a:pos x="3069" y="2139"/>
                  </a:cxn>
                  <a:cxn ang="0">
                    <a:pos x="2779" y="1665"/>
                  </a:cxn>
                  <a:cxn ang="0">
                    <a:pos x="2631" y="1382"/>
                  </a:cxn>
                  <a:cxn ang="0">
                    <a:pos x="2892" y="748"/>
                  </a:cxn>
                  <a:cxn ang="0">
                    <a:pos x="2809" y="494"/>
                  </a:cxn>
                  <a:cxn ang="0">
                    <a:pos x="2641" y="155"/>
                  </a:cxn>
                  <a:cxn ang="0">
                    <a:pos x="2405" y="35"/>
                  </a:cxn>
                </a:cxnLst>
                <a:rect l="0" t="0" r="r" b="b"/>
                <a:pathLst>
                  <a:path w="3244" h="3681">
                    <a:moveTo>
                      <a:pt x="2227" y="35"/>
                    </a:moveTo>
                    <a:lnTo>
                      <a:pt x="2316" y="170"/>
                    </a:lnTo>
                    <a:lnTo>
                      <a:pt x="2168" y="284"/>
                    </a:lnTo>
                    <a:lnTo>
                      <a:pt x="2108" y="409"/>
                    </a:lnTo>
                    <a:lnTo>
                      <a:pt x="1902" y="404"/>
                    </a:lnTo>
                    <a:lnTo>
                      <a:pt x="1784" y="524"/>
                    </a:lnTo>
                    <a:lnTo>
                      <a:pt x="1546" y="614"/>
                    </a:lnTo>
                    <a:lnTo>
                      <a:pt x="1286" y="644"/>
                    </a:lnTo>
                    <a:lnTo>
                      <a:pt x="1093" y="703"/>
                    </a:lnTo>
                    <a:lnTo>
                      <a:pt x="1123" y="853"/>
                    </a:lnTo>
                    <a:lnTo>
                      <a:pt x="1020" y="918"/>
                    </a:lnTo>
                    <a:lnTo>
                      <a:pt x="739" y="679"/>
                    </a:lnTo>
                    <a:lnTo>
                      <a:pt x="473" y="733"/>
                    </a:lnTo>
                    <a:lnTo>
                      <a:pt x="369" y="584"/>
                    </a:lnTo>
                    <a:lnTo>
                      <a:pt x="143" y="614"/>
                    </a:lnTo>
                    <a:lnTo>
                      <a:pt x="5" y="499"/>
                    </a:lnTo>
                    <a:lnTo>
                      <a:pt x="0" y="614"/>
                    </a:lnTo>
                    <a:lnTo>
                      <a:pt x="104" y="763"/>
                    </a:lnTo>
                    <a:lnTo>
                      <a:pt x="266" y="808"/>
                    </a:lnTo>
                    <a:lnTo>
                      <a:pt x="325" y="978"/>
                    </a:lnTo>
                    <a:lnTo>
                      <a:pt x="290" y="1157"/>
                    </a:lnTo>
                    <a:lnTo>
                      <a:pt x="409" y="1332"/>
                    </a:lnTo>
                    <a:lnTo>
                      <a:pt x="424" y="1517"/>
                    </a:lnTo>
                    <a:lnTo>
                      <a:pt x="542" y="1592"/>
                    </a:lnTo>
                    <a:lnTo>
                      <a:pt x="768" y="1562"/>
                    </a:lnTo>
                    <a:lnTo>
                      <a:pt x="779" y="1700"/>
                    </a:lnTo>
                    <a:lnTo>
                      <a:pt x="916" y="1780"/>
                    </a:lnTo>
                    <a:lnTo>
                      <a:pt x="1123" y="1861"/>
                    </a:lnTo>
                    <a:lnTo>
                      <a:pt x="1103" y="2021"/>
                    </a:lnTo>
                    <a:lnTo>
                      <a:pt x="1222" y="2219"/>
                    </a:lnTo>
                    <a:lnTo>
                      <a:pt x="1271" y="2424"/>
                    </a:lnTo>
                    <a:lnTo>
                      <a:pt x="1227" y="2948"/>
                    </a:lnTo>
                    <a:lnTo>
                      <a:pt x="1345" y="3117"/>
                    </a:lnTo>
                    <a:lnTo>
                      <a:pt x="1360" y="3247"/>
                    </a:lnTo>
                    <a:lnTo>
                      <a:pt x="1271" y="3372"/>
                    </a:lnTo>
                    <a:lnTo>
                      <a:pt x="1493" y="3506"/>
                    </a:lnTo>
                    <a:lnTo>
                      <a:pt x="1591" y="3671"/>
                    </a:lnTo>
                    <a:lnTo>
                      <a:pt x="1739" y="3681"/>
                    </a:lnTo>
                    <a:lnTo>
                      <a:pt x="1769" y="3367"/>
                    </a:lnTo>
                    <a:lnTo>
                      <a:pt x="1922" y="3187"/>
                    </a:lnTo>
                    <a:lnTo>
                      <a:pt x="2079" y="3192"/>
                    </a:lnTo>
                    <a:lnTo>
                      <a:pt x="2261" y="3357"/>
                    </a:lnTo>
                    <a:lnTo>
                      <a:pt x="2380" y="3367"/>
                    </a:lnTo>
                    <a:lnTo>
                      <a:pt x="2448" y="3247"/>
                    </a:lnTo>
                    <a:lnTo>
                      <a:pt x="2463" y="3072"/>
                    </a:lnTo>
                    <a:lnTo>
                      <a:pt x="2542" y="2893"/>
                    </a:lnTo>
                    <a:lnTo>
                      <a:pt x="2685" y="2773"/>
                    </a:lnTo>
                    <a:lnTo>
                      <a:pt x="2956" y="2788"/>
                    </a:lnTo>
                    <a:lnTo>
                      <a:pt x="3244" y="2766"/>
                    </a:lnTo>
                    <a:lnTo>
                      <a:pt x="3176" y="2333"/>
                    </a:lnTo>
                    <a:lnTo>
                      <a:pt x="3216" y="2217"/>
                    </a:lnTo>
                    <a:lnTo>
                      <a:pt x="3069" y="2139"/>
                    </a:lnTo>
                    <a:lnTo>
                      <a:pt x="2809" y="1906"/>
                    </a:lnTo>
                    <a:lnTo>
                      <a:pt x="2779" y="1665"/>
                    </a:lnTo>
                    <a:lnTo>
                      <a:pt x="2685" y="1557"/>
                    </a:lnTo>
                    <a:lnTo>
                      <a:pt x="2631" y="1382"/>
                    </a:lnTo>
                    <a:lnTo>
                      <a:pt x="2700" y="1003"/>
                    </a:lnTo>
                    <a:lnTo>
                      <a:pt x="2892" y="748"/>
                    </a:lnTo>
                    <a:lnTo>
                      <a:pt x="2804" y="614"/>
                    </a:lnTo>
                    <a:lnTo>
                      <a:pt x="2809" y="494"/>
                    </a:lnTo>
                    <a:lnTo>
                      <a:pt x="2567" y="409"/>
                    </a:lnTo>
                    <a:lnTo>
                      <a:pt x="2641" y="155"/>
                    </a:lnTo>
                    <a:lnTo>
                      <a:pt x="2552" y="0"/>
                    </a:lnTo>
                    <a:lnTo>
                      <a:pt x="2405" y="35"/>
                    </a:lnTo>
                    <a:lnTo>
                      <a:pt x="2227" y="35"/>
                    </a:lnTo>
                    <a:close/>
                  </a:path>
                </a:pathLst>
              </a:custGeom>
              <a:solidFill>
                <a:srgbClr val="C3B99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grpSp>
        <p:sp>
          <p:nvSpPr>
            <p:cNvPr id="18" name="Oval 25">
              <a:extLst>
                <a:ext uri="{FF2B5EF4-FFF2-40B4-BE49-F238E27FC236}">
                  <a16:creationId xmlns:a16="http://schemas.microsoft.com/office/drawing/2014/main" id="{36790634-7F19-4D5A-94DC-1B0CA864B99A}"/>
                </a:ext>
              </a:extLst>
            </p:cNvPr>
            <p:cNvSpPr>
              <a:spLocks noChangeArrowheads="1"/>
            </p:cNvSpPr>
            <p:nvPr/>
          </p:nvSpPr>
          <p:spPr bwMode="gray">
            <a:xfrm>
              <a:off x="4387906" y="5166937"/>
              <a:ext cx="108820" cy="108820"/>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sp>
          <p:nvSpPr>
            <p:cNvPr id="22" name="Oval 25">
              <a:extLst>
                <a:ext uri="{FF2B5EF4-FFF2-40B4-BE49-F238E27FC236}">
                  <a16:creationId xmlns:a16="http://schemas.microsoft.com/office/drawing/2014/main" id="{F7484D4C-BE28-4837-AC1C-20CC46D8C72F}"/>
                </a:ext>
              </a:extLst>
            </p:cNvPr>
            <p:cNvSpPr>
              <a:spLocks noChangeArrowheads="1"/>
            </p:cNvSpPr>
            <p:nvPr/>
          </p:nvSpPr>
          <p:spPr bwMode="gray">
            <a:xfrm>
              <a:off x="4107002" y="5724518"/>
              <a:ext cx="108821" cy="10882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grpSp>
    </p:spTree>
    <p:extLst>
      <p:ext uri="{BB962C8B-B14F-4D97-AF65-F5344CB8AC3E}">
        <p14:creationId xmlns:p14="http://schemas.microsoft.com/office/powerpoint/2010/main" val="2171001390"/>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MIO_FALLBACK_LAYOUT" val="11"/>
  <p:tag name="MIO_SHOW_DATE" val="True"/>
  <p:tag name="MIO_SHOW_FOOTER" val="True"/>
  <p:tag name="MIO_SHOW_PAGENUMBER" val="True"/>
  <p:tag name="MIO_AVOID_BLANK_LAYOUT" val="True"/>
  <p:tag name="MIO_CD_LAYOUT_VALID_AREA" val="False"/>
  <p:tag name="MIO_NUMBER_OF_VALID_LAYOUTS" val="16"/>
  <p:tag name="MIO_HDS" val="True"/>
  <p:tag name="MIO_SKIPVERSION" val="01.01.0001 00:00:00"/>
  <p:tag name="MIO_EKGUID" val="106612b7-7cda-4c66-a943-3c88b56a92d2"/>
  <p:tag name="MIO_UPDATE" val="True"/>
  <p:tag name="MIO_VERSION" val="05.09.2018 15:12:17"/>
  <p:tag name="MIO_DBID" val="8E7267AE-489F-4B02-8040-8A98451BF141"/>
  <p:tag name="MIO_LASTDOWNLOADED" val="25.09.2018 11:11:43"/>
  <p:tag name="MIO_OBJECTNAME" val="Master Bayer AG 16:9 pre final"/>
  <p:tag name="MIO_CDID" val="cd9a71c7-8ed9-41a1-8303-1a6d1985851a"/>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GUID" val="bdb25e0f-8f05-48e0-ac9a-a4a6615a2717"/>
  <p:tag name="MIO_EKGUID" val="bc7cae4e-f292-4337-bf46-12433f8e5c70"/>
  <p:tag name="MIO_UPDATE" val="True"/>
  <p:tag name="MIO_VERSION" val="05.09.2018 15:27:59"/>
  <p:tag name="MIO_DBID" val="8E7267AE-489F-4B02-8040-8A98451BF141"/>
  <p:tag name="MIO_LASTDOWNLOADED" val="25.09.2018 11:15:30"/>
  <p:tag name="MIO_OBJECTNAME" val="Content area and guides"/>
  <p:tag name="MIO_LASTEDITORNAME" val="empower enterpris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1_PR_BAG_PPT-master_16-9">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o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Arial" panose="020B0604020202020204" pitchFamily="34" charset="0"/>
          </a:defRPr>
        </a:defPPr>
      </a:lstStyle>
    </a:txDef>
  </a:objectDefaults>
  <a:extraClrSchemeLst/>
  <a:custClrLst>
    <a:custClr name="Raspberry">
      <a:srgbClr val="D30F4B"/>
    </a:custClr>
    <a:custClr name="Fuchs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Präsentation2" id="{9F44F183-6967-4C37-BC3A-F846C6343AA8}" vid="{2CD6D4D1-CF9C-4B16-993C-2A26F7415D1B}"/>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1a4d292e-883c-434b-96e3-060cfff16c86"/>
    <_dlc_ExpireDateSaved xmlns="http://schemas.microsoft.com/sharepoint/v3" xsi:nil="true"/>
    <_dlc_ExpireDate xmlns="http://schemas.microsoft.com/sharepoint/v3" xsi:nil="true"/>
    <_dlc_Exempt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BB7F4795C866C488F951A6AB510BFE7" ma:contentTypeVersion="17" ma:contentTypeDescription="Create a new document." ma:contentTypeScope="" ma:versionID="c946b3e56f801c59b7f366329297626d">
  <xsd:schema xmlns:xsd="http://www.w3.org/2001/XMLSchema" xmlns:xs="http://www.w3.org/2001/XMLSchema" xmlns:p="http://schemas.microsoft.com/office/2006/metadata/properties" xmlns:ns1="http://schemas.microsoft.com/sharepoint/v3" xmlns:ns3="1a4d292e-883c-434b-96e3-060cfff16c86" xmlns:ns4="ca64f599-6dd7-4017-952f-1204137af13b" xmlns:ns5="17e1cc5a-e990-4a18-b94b-ee294be2e33c" targetNamespace="http://schemas.microsoft.com/office/2006/metadata/properties" ma:root="true" ma:fieldsID="ec14a14e6d35de679303979d87a43d9f" ns1:_="" ns3:_="" ns4:_="" ns5:_="">
    <xsd:import namespace="http://schemas.microsoft.com/sharepoint/v3"/>
    <xsd:import namespace="1a4d292e-883c-434b-96e3-060cfff16c86"/>
    <xsd:import namespace="ca64f599-6dd7-4017-952f-1204137af13b"/>
    <xsd:import namespace="17e1cc5a-e990-4a18-b94b-ee294be2e33c"/>
    <xsd:element name="properties">
      <xsd:complexType>
        <xsd:sequence>
          <xsd:element name="documentManagement">
            <xsd:complexType>
              <xsd:all>
                <xsd:element ref="ns3:TaxCatchAll" minOccurs="0"/>
                <xsd:element ref="ns3:TaxCatchAllLabel" minOccurs="0"/>
                <xsd:element ref="ns1:_dlc_Exempt" minOccurs="0"/>
                <xsd:element ref="ns1:_dlc_ExpireDateSaved" minOccurs="0"/>
                <xsd:element ref="ns1:_dlc_ExpireDate" minOccurs="0"/>
                <xsd:element ref="ns4:MediaServiceMetadata" minOccurs="0"/>
                <xsd:element ref="ns4:MediaServiceFastMetadata" minOccurs="0"/>
                <xsd:element ref="ns5:SharedWithUsers" minOccurs="0"/>
                <xsd:element ref="ns5:SharedWithDetails" minOccurs="0"/>
                <xsd:element ref="ns5:SharingHintHash" minOccurs="0"/>
                <xsd:element ref="ns4:MediaServiceAutoTags" minOccurs="0"/>
                <xsd:element ref="ns4:MediaServiceGenerationTime" minOccurs="0"/>
                <xsd:element ref="ns4:MediaServiceEventHashCode" minOccurs="0"/>
                <xsd:element ref="ns4:MediaServiceOCR" minOccurs="0"/>
                <xsd:element ref="ns4:MediaServiceAutoKeyPoints" minOccurs="0"/>
                <xsd:element ref="ns4:MediaServiceKeyPoints" minOccurs="0"/>
                <xsd:element ref="ns4:MediaServiceDateTaken"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false">
      <xsd:simpleType>
        <xsd:restriction base="dms:Unknown"/>
      </xsd:simpleType>
    </xsd:element>
    <xsd:element name="_dlc_ExpireDateSaved" ma:index="11" nillable="true" ma:displayName="Original Expiration Date" ma:hidden="true" ma:internalName="_dlc_ExpireDateSaved" ma:readOnly="false">
      <xsd:simpleType>
        <xsd:restriction base="dms:DateTime"/>
      </xsd:simpleType>
    </xsd:element>
    <xsd:element name="_dlc_ExpireDate" ma:index="12" nillable="true" ma:displayName="Expiration Date" ma:hidden="true" ma:internalName="_dlc_Expir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7bad0115-ba1b-4d8e-8df9-cf1e2517179e}" ma:internalName="TaxCatchAll" ma:showField="CatchAllData" ma:web="17e1cc5a-e990-4a18-b94b-ee294be2e33c">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7bad0115-ba1b-4d8e-8df9-cf1e2517179e}" ma:internalName="TaxCatchAllLabel" ma:readOnly="true" ma:showField="CatchAllDataLabel" ma:web="17e1cc5a-e990-4a18-b94b-ee294be2e33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a64f599-6dd7-4017-952f-1204137af13b"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Tags" ma:index="18" nillable="true" ma:displayName="Tags" ma:internalName="MediaServiceAutoTags"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MediaServiceDateTaken" ma:index="24" nillable="true" ma:displayName="MediaServiceDateTaken" ma:hidden="true" ma:internalName="MediaServiceDateTaken" ma:readOnly="true">
      <xsd:simpleType>
        <xsd:restriction base="dms:Text"/>
      </xsd:simpleType>
    </xsd:element>
    <xsd:element name="MediaServiceLocation" ma:index="25"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7e1cc5a-e990-4a18-b94b-ee294be2e33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7bc43322-b630-4bac-8b27-31def233d1d0" ContentTypeId="0x0101" PreviousValue="false"/>
</file>

<file path=customXml/itemProps1.xml><?xml version="1.0" encoding="utf-8"?>
<ds:datastoreItem xmlns:ds="http://schemas.openxmlformats.org/officeDocument/2006/customXml" ds:itemID="{CCB8A718-3E03-4D5A-BD87-2F7364FCD841}">
  <ds:schemaRefs>
    <ds:schemaRef ds:uri="http://schemas.microsoft.com/sharepoint/v3/contenttype/forms"/>
  </ds:schemaRefs>
</ds:datastoreItem>
</file>

<file path=customXml/itemProps2.xml><?xml version="1.0" encoding="utf-8"?>
<ds:datastoreItem xmlns:ds="http://schemas.openxmlformats.org/officeDocument/2006/customXml" ds:itemID="{F1A591C3-B6A6-4530-B1A6-177330898928}">
  <ds:schemaRefs>
    <ds:schemaRef ds:uri="http://purl.org/dc/elements/1.1/"/>
    <ds:schemaRef ds:uri="http://schemas.microsoft.com/office/2006/metadata/properties"/>
    <ds:schemaRef ds:uri="http://schemas.microsoft.com/sharepoint/v3"/>
    <ds:schemaRef ds:uri="http://purl.org/dc/terms/"/>
    <ds:schemaRef ds:uri="http://schemas.microsoft.com/office/infopath/2007/PartnerControls"/>
    <ds:schemaRef ds:uri="http://schemas.microsoft.com/office/2006/documentManagement/types"/>
    <ds:schemaRef ds:uri="ca64f599-6dd7-4017-952f-1204137af13b"/>
    <ds:schemaRef ds:uri="17e1cc5a-e990-4a18-b94b-ee294be2e33c"/>
    <ds:schemaRef ds:uri="http://schemas.openxmlformats.org/package/2006/metadata/core-properties"/>
    <ds:schemaRef ds:uri="1a4d292e-883c-434b-96e3-060cfff16c86"/>
    <ds:schemaRef ds:uri="http://www.w3.org/XML/1998/namespace"/>
    <ds:schemaRef ds:uri="http://purl.org/dc/dcmitype/"/>
  </ds:schemaRefs>
</ds:datastoreItem>
</file>

<file path=customXml/itemProps3.xml><?xml version="1.0" encoding="utf-8"?>
<ds:datastoreItem xmlns:ds="http://schemas.openxmlformats.org/officeDocument/2006/customXml" ds:itemID="{6B16A192-89ED-4BD8-971E-45C252559A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a4d292e-883c-434b-96e3-060cfff16c86"/>
    <ds:schemaRef ds:uri="ca64f599-6dd7-4017-952f-1204137af13b"/>
    <ds:schemaRef ds:uri="17e1cc5a-e990-4a18-b94b-ee294be2e33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DC1EFB69-1462-4BA4-965A-95D8F9FB8934}">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Slice</Template>
  <TotalTime>2814</TotalTime>
  <Words>1438</Words>
  <Application>Microsoft Office PowerPoint</Application>
  <PresentationFormat>Personalizar</PresentationFormat>
  <Paragraphs>404</Paragraphs>
  <Slides>27</Slides>
  <Notes>26</Notes>
  <HiddenSlides>0</HiddenSlides>
  <MMClips>0</MMClips>
  <ScaleCrop>false</ScaleCrop>
  <HeadingPairs>
    <vt:vector size="6" baseType="variant">
      <vt:variant>
        <vt:lpstr>Fontes usadas</vt:lpstr>
      </vt:variant>
      <vt:variant>
        <vt:i4>3</vt:i4>
      </vt:variant>
      <vt:variant>
        <vt:lpstr>Tema</vt:lpstr>
      </vt:variant>
      <vt:variant>
        <vt:i4>1</vt:i4>
      </vt:variant>
      <vt:variant>
        <vt:lpstr>Títulos de slides</vt:lpstr>
      </vt:variant>
      <vt:variant>
        <vt:i4>27</vt:i4>
      </vt:variant>
    </vt:vector>
  </HeadingPairs>
  <TitlesOfParts>
    <vt:vector size="31" baseType="lpstr">
      <vt:lpstr>Arial</vt:lpstr>
      <vt:lpstr>Calibri</vt:lpstr>
      <vt:lpstr>Wingdings</vt:lpstr>
      <vt:lpstr>1_PR_BAG_PPT-master_16-9</vt:lpstr>
      <vt:lpstr>Headline</vt:lpstr>
      <vt:lpstr>Gustavo  dos Santos</vt:lpstr>
      <vt:lpstr>Distribution CP</vt:lpstr>
      <vt:lpstr>Distribution CP</vt:lpstr>
      <vt:lpstr>Distribution CP</vt:lpstr>
      <vt:lpstr>Distribution CP</vt:lpstr>
      <vt:lpstr>Distribution CP</vt:lpstr>
      <vt:lpstr>Distribution CP</vt:lpstr>
      <vt:lpstr>Distribution CP</vt:lpstr>
      <vt:lpstr>Distribution CP</vt:lpstr>
      <vt:lpstr>Customer Interaction</vt:lpstr>
      <vt:lpstr>Innovation Seed</vt:lpstr>
      <vt:lpstr>Apresentação do PowerPoint</vt:lpstr>
      <vt:lpstr>Lorem ipsum dolor sit amet</vt:lpstr>
      <vt:lpstr>Distribution CP</vt:lpstr>
      <vt:lpstr>Headline</vt:lpstr>
      <vt:lpstr>Headline</vt:lpstr>
      <vt:lpstr>Apresentação do PowerPoint</vt:lpstr>
      <vt:lpstr>Apresentação do PowerPoint</vt:lpstr>
      <vt:lpstr>Zukunftsgerichtete Aussagen</vt:lpstr>
      <vt:lpstr>Forward-Looking Statements</vt:lpstr>
      <vt:lpstr>Thank you!</vt:lpstr>
      <vt:lpstr>Thank you!</vt:lpstr>
      <vt:lpstr>Thank you!</vt:lpstr>
      <vt:lpstr>Headline</vt:lpstr>
      <vt:lpstr>Headline</vt:lpstr>
      <vt:lpstr>Content area and guid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dc:title>
  <dc:creator>Gustavo dos Santos</dc:creator>
  <cp:lastModifiedBy>Gustavo Santos</cp:lastModifiedBy>
  <cp:revision>22</cp:revision>
  <cp:lastPrinted>2017-10-23T10:44:12Z</cp:lastPrinted>
  <dcterms:created xsi:type="dcterms:W3CDTF">2020-11-25T16:36:35Z</dcterms:created>
  <dcterms:modified xsi:type="dcterms:W3CDTF">2020-11-28T23:2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MSIP_Label_2c76c141-ac86-40e5-abf2-c6f60e474cee_Enabled">
    <vt:lpwstr>True</vt:lpwstr>
  </property>
  <property fmtid="{D5CDD505-2E9C-101B-9397-08002B2CF9AE}" pid="4" name="MSIP_Label_2c76c141-ac86-40e5-abf2-c6f60e474cee_SiteId">
    <vt:lpwstr>fcb2b37b-5da0-466b-9b83-0014b67a7c78</vt:lpwstr>
  </property>
  <property fmtid="{D5CDD505-2E9C-101B-9397-08002B2CF9AE}" pid="5" name="MSIP_Label_2c76c141-ac86-40e5-abf2-c6f60e474cee_Owner">
    <vt:lpwstr>gustavo.dossantos@bayer.com</vt:lpwstr>
  </property>
  <property fmtid="{D5CDD505-2E9C-101B-9397-08002B2CF9AE}" pid="6" name="MSIP_Label_2c76c141-ac86-40e5-abf2-c6f60e474cee_SetDate">
    <vt:lpwstr>2020-11-25T16:54:43.0126013Z</vt:lpwstr>
  </property>
  <property fmtid="{D5CDD505-2E9C-101B-9397-08002B2CF9AE}" pid="7" name="MSIP_Label_2c76c141-ac86-40e5-abf2-c6f60e474cee_Name">
    <vt:lpwstr>RESTRICTED</vt:lpwstr>
  </property>
  <property fmtid="{D5CDD505-2E9C-101B-9397-08002B2CF9AE}" pid="8" name="MSIP_Label_2c76c141-ac86-40e5-abf2-c6f60e474cee_Application">
    <vt:lpwstr>Microsoft Azure Information Protection</vt:lpwstr>
  </property>
  <property fmtid="{D5CDD505-2E9C-101B-9397-08002B2CF9AE}" pid="9" name="MSIP_Label_2c76c141-ac86-40e5-abf2-c6f60e474cee_Extended_MSFT_Method">
    <vt:lpwstr>Automatic</vt:lpwstr>
  </property>
  <property fmtid="{D5CDD505-2E9C-101B-9397-08002B2CF9AE}" pid="10" name="Sensitivity">
    <vt:lpwstr>RESTRICTED</vt:lpwstr>
  </property>
  <property fmtid="{D5CDD505-2E9C-101B-9397-08002B2CF9AE}" pid="11" name="ContentTypeId">
    <vt:lpwstr>0x0101007BB7F4795C866C488F951A6AB510BFE7</vt:lpwstr>
  </property>
</Properties>
</file>